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8.xml" ContentType="application/vnd.openxmlformats-officedocument.them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0.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1.xml" ContentType="application/vnd.openxmlformats-officedocument.them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 id="2147483750" r:id="rId5"/>
    <p:sldMasterId id="2147483786" r:id="rId6"/>
    <p:sldMasterId id="2147483797" r:id="rId7"/>
    <p:sldMasterId id="2147483834" r:id="rId8"/>
    <p:sldMasterId id="2147483846" r:id="rId9"/>
    <p:sldMasterId id="2147483853" r:id="rId10"/>
    <p:sldMasterId id="2147483859" r:id="rId11"/>
    <p:sldMasterId id="2147483901" r:id="rId12"/>
    <p:sldMasterId id="2147483957" r:id="rId13"/>
    <p:sldMasterId id="2147484013" r:id="rId14"/>
  </p:sldMasterIdLst>
  <p:notesMasterIdLst>
    <p:notesMasterId r:id="rId50"/>
  </p:notesMasterIdLst>
  <p:handoutMasterIdLst>
    <p:handoutMasterId r:id="rId51"/>
  </p:handoutMasterIdLst>
  <p:sldIdLst>
    <p:sldId id="2141410641" r:id="rId15"/>
    <p:sldId id="479" r:id="rId16"/>
    <p:sldId id="357" r:id="rId17"/>
    <p:sldId id="2147470346" r:id="rId18"/>
    <p:sldId id="2145705232" r:id="rId19"/>
    <p:sldId id="2147478898" r:id="rId20"/>
    <p:sldId id="2145705234" r:id="rId21"/>
    <p:sldId id="2147478917" r:id="rId22"/>
    <p:sldId id="2147478943" r:id="rId23"/>
    <p:sldId id="303" r:id="rId24"/>
    <p:sldId id="2147478921" r:id="rId25"/>
    <p:sldId id="2147478911" r:id="rId26"/>
    <p:sldId id="2147478912" r:id="rId27"/>
    <p:sldId id="2147478913" r:id="rId28"/>
    <p:sldId id="2147478924" r:id="rId29"/>
    <p:sldId id="304" r:id="rId30"/>
    <p:sldId id="2147478925" r:id="rId31"/>
    <p:sldId id="2147478941" r:id="rId32"/>
    <p:sldId id="2147478929" r:id="rId33"/>
    <p:sldId id="2147478930" r:id="rId34"/>
    <p:sldId id="2147478931" r:id="rId35"/>
    <p:sldId id="2147478932" r:id="rId36"/>
    <p:sldId id="2147478933" r:id="rId37"/>
    <p:sldId id="2147478934" r:id="rId38"/>
    <p:sldId id="2147478935" r:id="rId39"/>
    <p:sldId id="2147478936" r:id="rId40"/>
    <p:sldId id="2147478937" r:id="rId41"/>
    <p:sldId id="2147478944" r:id="rId42"/>
    <p:sldId id="2147478945" r:id="rId43"/>
    <p:sldId id="2147478946" r:id="rId44"/>
    <p:sldId id="2147478947" r:id="rId45"/>
    <p:sldId id="2147478948" r:id="rId46"/>
    <p:sldId id="2147478949" r:id="rId47"/>
    <p:sldId id="2147478950" r:id="rId48"/>
    <p:sldId id="2147478942" r:id="rId49"/>
  </p:sldIdLst>
  <p:sldSz cx="14630400" cy="8229600"/>
  <p:notesSz cx="6797675" cy="9874250"/>
  <p:defaultTextStyle>
    <a:defPPr>
      <a:defRPr lang="en-US"/>
    </a:defPPr>
    <a:lvl1pPr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p:defaultTextStyle>
  <p:extLst>
    <p:ext uri="{EFAFB233-063F-42B5-8137-9DF3F51BA10A}">
      <p15:sldGuideLst xmlns:p15="http://schemas.microsoft.com/office/powerpoint/2012/main">
        <p15:guide id="1" orient="horz" pos="4608" userDrawn="1">
          <p15:clr>
            <a:srgbClr val="A4A3A4"/>
          </p15:clr>
        </p15:guide>
        <p15:guide id="2" orient="horz" pos="2593">
          <p15:clr>
            <a:srgbClr val="A4A3A4"/>
          </p15:clr>
        </p15:guide>
        <p15:guide id="3" orient="horz" pos="289">
          <p15:clr>
            <a:srgbClr val="A4A3A4"/>
          </p15:clr>
        </p15:guide>
        <p15:guide id="4" orient="horz" pos="4464">
          <p15:clr>
            <a:srgbClr val="A4A3A4"/>
          </p15:clr>
        </p15:guide>
        <p15:guide id="5" orient="horz" pos="2015">
          <p15:clr>
            <a:srgbClr val="A4A3A4"/>
          </p15:clr>
        </p15:guide>
        <p15:guide id="6" orient="horz" pos="4742">
          <p15:clr>
            <a:srgbClr val="A4A3A4"/>
          </p15:clr>
        </p15:guide>
        <p15:guide id="7" orient="horz" pos="1294">
          <p15:clr>
            <a:srgbClr val="A4A3A4"/>
          </p15:clr>
        </p15:guide>
        <p15:guide id="8" pos="4608">
          <p15:clr>
            <a:srgbClr val="A4A3A4"/>
          </p15:clr>
        </p15:guide>
        <p15:guide id="9" pos="4538">
          <p15:clr>
            <a:srgbClr val="A4A3A4"/>
          </p15:clr>
        </p15:guide>
        <p15:guide id="10" pos="4678">
          <p15:clr>
            <a:srgbClr val="A4A3A4"/>
          </p15:clr>
        </p15:guide>
        <p15:guide id="11" pos="431">
          <p15:clr>
            <a:srgbClr val="A4A3A4"/>
          </p15:clr>
        </p15:guide>
        <p15:guide id="12" pos="8786">
          <p15:clr>
            <a:srgbClr val="A4A3A4"/>
          </p15:clr>
        </p15:guide>
        <p15:guide id="13" pos="5964">
          <p15:clr>
            <a:srgbClr val="A4A3A4"/>
          </p15:clr>
        </p15:guide>
        <p15:guide id="14" pos="3270">
          <p15:clr>
            <a:srgbClr val="A4A3A4"/>
          </p15:clr>
        </p15:guide>
        <p15:guide id="15" pos="6097">
          <p15:clr>
            <a:srgbClr val="A4A3A4"/>
          </p15:clr>
        </p15:guide>
        <p15:guide id="16" pos="3114">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8447"/>
    <a:srgbClr val="E7E7E7"/>
    <a:srgbClr val="000099"/>
    <a:srgbClr val="595959"/>
    <a:srgbClr val="ECCBCC"/>
    <a:srgbClr val="D8D8D8"/>
    <a:srgbClr val="C8102E"/>
    <a:srgbClr val="F4F4F4"/>
    <a:srgbClr val="FFFFFF"/>
    <a:srgbClr val="777A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2065E8-8C78-4F42-98FB-1C5288E349FC}" v="127" dt="2024-03-05T18:53:41.316"/>
    <p1510:client id="{CA18739B-3186-42B0-AA33-B60FBB208E20}" v="15" dt="2024-03-06T18:18:54.535"/>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6247" autoAdjust="0"/>
  </p:normalViewPr>
  <p:slideViewPr>
    <p:cSldViewPr snapToGrid="0">
      <p:cViewPr varScale="1">
        <p:scale>
          <a:sx n="93" d="100"/>
          <a:sy n="93" d="100"/>
        </p:scale>
        <p:origin x="870" y="84"/>
      </p:cViewPr>
      <p:guideLst>
        <p:guide orient="horz" pos="4608"/>
        <p:guide orient="horz" pos="2593"/>
        <p:guide orient="horz" pos="289"/>
        <p:guide orient="horz" pos="4464"/>
        <p:guide orient="horz" pos="2015"/>
        <p:guide orient="horz" pos="4742"/>
        <p:guide orient="horz" pos="1294"/>
        <p:guide pos="4608"/>
        <p:guide pos="4538"/>
        <p:guide pos="4678"/>
        <p:guide pos="431"/>
        <p:guide pos="8786"/>
        <p:guide pos="5964"/>
        <p:guide pos="3270"/>
        <p:guide pos="6097"/>
        <p:guide pos="3114"/>
      </p:guideLst>
    </p:cSldViewPr>
  </p:slideViewPr>
  <p:notesTextViewPr>
    <p:cViewPr>
      <p:scale>
        <a:sx n="1" d="1"/>
        <a:sy n="1" d="1"/>
      </p:scale>
      <p:origin x="0" y="0"/>
    </p:cViewPr>
  </p:notesTextViewPr>
  <p:notesViewPr>
    <p:cSldViewPr snapToGrid="0">
      <p:cViewPr>
        <p:scale>
          <a:sx n="1" d="2"/>
          <a:sy n="1" d="2"/>
        </p:scale>
        <p:origin x="0" y="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gel, Troy [JJCUS NON-J&amp;J]" userId="eab39b0b-0874-4185-ab60-88940d3b579c" providerId="ADAL" clId="{78728C2F-A187-4622-BD57-268CCEBEC62C}"/>
    <pc:docChg chg="undo redo custSel addSld delSld modSld sldOrd">
      <pc:chgData name="Engel, Troy [JJCUS NON-J&amp;J]" userId="eab39b0b-0874-4185-ab60-88940d3b579c" providerId="ADAL" clId="{78728C2F-A187-4622-BD57-268CCEBEC62C}" dt="2024-03-04T15:13:03.560" v="4237" actId="20577"/>
      <pc:docMkLst>
        <pc:docMk/>
      </pc:docMkLst>
      <pc:sldChg chg="del">
        <pc:chgData name="Engel, Troy [JJCUS NON-J&amp;J]" userId="eab39b0b-0874-4185-ab60-88940d3b579c" providerId="ADAL" clId="{78728C2F-A187-4622-BD57-268CCEBEC62C}" dt="2024-02-29T23:56:40.183" v="339" actId="47"/>
        <pc:sldMkLst>
          <pc:docMk/>
          <pc:sldMk cId="2614045146" sldId="267"/>
        </pc:sldMkLst>
      </pc:sldChg>
      <pc:sldChg chg="del">
        <pc:chgData name="Engel, Troy [JJCUS NON-J&amp;J]" userId="eab39b0b-0874-4185-ab60-88940d3b579c" providerId="ADAL" clId="{78728C2F-A187-4622-BD57-268CCEBEC62C}" dt="2024-03-01T00:23:21.969" v="923" actId="47"/>
        <pc:sldMkLst>
          <pc:docMk/>
          <pc:sldMk cId="1798780254" sldId="273"/>
        </pc:sldMkLst>
      </pc:sldChg>
      <pc:sldChg chg="del">
        <pc:chgData name="Engel, Troy [JJCUS NON-J&amp;J]" userId="eab39b0b-0874-4185-ab60-88940d3b579c" providerId="ADAL" clId="{78728C2F-A187-4622-BD57-268CCEBEC62C}" dt="2024-03-01T00:22:53.578" v="917" actId="47"/>
        <pc:sldMkLst>
          <pc:docMk/>
          <pc:sldMk cId="1742325320" sldId="274"/>
        </pc:sldMkLst>
      </pc:sldChg>
      <pc:sldChg chg="del">
        <pc:chgData name="Engel, Troy [JJCUS NON-J&amp;J]" userId="eab39b0b-0874-4185-ab60-88940d3b579c" providerId="ADAL" clId="{78728C2F-A187-4622-BD57-268CCEBEC62C}" dt="2024-03-01T00:22:54.703" v="918" actId="47"/>
        <pc:sldMkLst>
          <pc:docMk/>
          <pc:sldMk cId="3987054808" sldId="275"/>
        </pc:sldMkLst>
      </pc:sldChg>
      <pc:sldChg chg="del">
        <pc:chgData name="Engel, Troy [JJCUS NON-J&amp;J]" userId="eab39b0b-0874-4185-ab60-88940d3b579c" providerId="ADAL" clId="{78728C2F-A187-4622-BD57-268CCEBEC62C}" dt="2024-03-01T00:22:55.985" v="919" actId="47"/>
        <pc:sldMkLst>
          <pc:docMk/>
          <pc:sldMk cId="3190566271" sldId="276"/>
        </pc:sldMkLst>
      </pc:sldChg>
      <pc:sldChg chg="del">
        <pc:chgData name="Engel, Troy [JJCUS NON-J&amp;J]" userId="eab39b0b-0874-4185-ab60-88940d3b579c" providerId="ADAL" clId="{78728C2F-A187-4622-BD57-268CCEBEC62C}" dt="2024-03-01T00:23:47.501" v="931" actId="47"/>
        <pc:sldMkLst>
          <pc:docMk/>
          <pc:sldMk cId="1387079932" sldId="277"/>
        </pc:sldMkLst>
      </pc:sldChg>
      <pc:sldChg chg="del">
        <pc:chgData name="Engel, Troy [JJCUS NON-J&amp;J]" userId="eab39b0b-0874-4185-ab60-88940d3b579c" providerId="ADAL" clId="{78728C2F-A187-4622-BD57-268CCEBEC62C}" dt="2024-02-29T23:46:10.134" v="212" actId="47"/>
        <pc:sldMkLst>
          <pc:docMk/>
          <pc:sldMk cId="2147409009" sldId="307"/>
        </pc:sldMkLst>
      </pc:sldChg>
      <pc:sldChg chg="del">
        <pc:chgData name="Engel, Troy [JJCUS NON-J&amp;J]" userId="eab39b0b-0874-4185-ab60-88940d3b579c" providerId="ADAL" clId="{78728C2F-A187-4622-BD57-268CCEBEC62C}" dt="2024-02-29T23:46:11.384" v="213" actId="47"/>
        <pc:sldMkLst>
          <pc:docMk/>
          <pc:sldMk cId="2213870176" sldId="313"/>
        </pc:sldMkLst>
      </pc:sldChg>
      <pc:sldChg chg="del">
        <pc:chgData name="Engel, Troy [JJCUS NON-J&amp;J]" userId="eab39b0b-0874-4185-ab60-88940d3b579c" providerId="ADAL" clId="{78728C2F-A187-4622-BD57-268CCEBEC62C}" dt="2024-02-29T23:46:12.806" v="215" actId="47"/>
        <pc:sldMkLst>
          <pc:docMk/>
          <pc:sldMk cId="3792175542" sldId="315"/>
        </pc:sldMkLst>
      </pc:sldChg>
      <pc:sldChg chg="del">
        <pc:chgData name="Engel, Troy [JJCUS NON-J&amp;J]" userId="eab39b0b-0874-4185-ab60-88940d3b579c" providerId="ADAL" clId="{78728C2F-A187-4622-BD57-268CCEBEC62C}" dt="2024-02-29T23:46:13.697" v="216" actId="47"/>
        <pc:sldMkLst>
          <pc:docMk/>
          <pc:sldMk cId="955546541" sldId="316"/>
        </pc:sldMkLst>
      </pc:sldChg>
      <pc:sldChg chg="del">
        <pc:chgData name="Engel, Troy [JJCUS NON-J&amp;J]" userId="eab39b0b-0874-4185-ab60-88940d3b579c" providerId="ADAL" clId="{78728C2F-A187-4622-BD57-268CCEBEC62C}" dt="2024-02-29T23:46:14.306" v="217" actId="47"/>
        <pc:sldMkLst>
          <pc:docMk/>
          <pc:sldMk cId="3543393579" sldId="317"/>
        </pc:sldMkLst>
      </pc:sldChg>
      <pc:sldChg chg="del">
        <pc:chgData name="Engel, Troy [JJCUS NON-J&amp;J]" userId="eab39b0b-0874-4185-ab60-88940d3b579c" providerId="ADAL" clId="{78728C2F-A187-4622-BD57-268CCEBEC62C}" dt="2024-02-29T23:46:14.962" v="218" actId="47"/>
        <pc:sldMkLst>
          <pc:docMk/>
          <pc:sldMk cId="45014492" sldId="318"/>
        </pc:sldMkLst>
      </pc:sldChg>
      <pc:sldChg chg="del">
        <pc:chgData name="Engel, Troy [JJCUS NON-J&amp;J]" userId="eab39b0b-0874-4185-ab60-88940d3b579c" providerId="ADAL" clId="{78728C2F-A187-4622-BD57-268CCEBEC62C}" dt="2024-02-29T23:46:15.556" v="219" actId="47"/>
        <pc:sldMkLst>
          <pc:docMk/>
          <pc:sldMk cId="635574347" sldId="319"/>
        </pc:sldMkLst>
      </pc:sldChg>
      <pc:sldChg chg="del">
        <pc:chgData name="Engel, Troy [JJCUS NON-J&amp;J]" userId="eab39b0b-0874-4185-ab60-88940d3b579c" providerId="ADAL" clId="{78728C2F-A187-4622-BD57-268CCEBEC62C}" dt="2024-02-29T23:46:17.134" v="221" actId="47"/>
        <pc:sldMkLst>
          <pc:docMk/>
          <pc:sldMk cId="4287183636" sldId="320"/>
        </pc:sldMkLst>
      </pc:sldChg>
      <pc:sldChg chg="del">
        <pc:chgData name="Engel, Troy [JJCUS NON-J&amp;J]" userId="eab39b0b-0874-4185-ab60-88940d3b579c" providerId="ADAL" clId="{78728C2F-A187-4622-BD57-268CCEBEC62C}" dt="2024-02-29T23:46:18.759" v="222" actId="47"/>
        <pc:sldMkLst>
          <pc:docMk/>
          <pc:sldMk cId="2353903957" sldId="321"/>
        </pc:sldMkLst>
      </pc:sldChg>
      <pc:sldChg chg="del">
        <pc:chgData name="Engel, Troy [JJCUS NON-J&amp;J]" userId="eab39b0b-0874-4185-ab60-88940d3b579c" providerId="ADAL" clId="{78728C2F-A187-4622-BD57-268CCEBEC62C}" dt="2024-02-29T23:46:19.618" v="223" actId="47"/>
        <pc:sldMkLst>
          <pc:docMk/>
          <pc:sldMk cId="46851436" sldId="322"/>
        </pc:sldMkLst>
      </pc:sldChg>
      <pc:sldChg chg="del">
        <pc:chgData name="Engel, Troy [JJCUS NON-J&amp;J]" userId="eab39b0b-0874-4185-ab60-88940d3b579c" providerId="ADAL" clId="{78728C2F-A187-4622-BD57-268CCEBEC62C}" dt="2024-02-29T23:46:20.275" v="224" actId="47"/>
        <pc:sldMkLst>
          <pc:docMk/>
          <pc:sldMk cId="157481801" sldId="323"/>
        </pc:sldMkLst>
      </pc:sldChg>
      <pc:sldChg chg="del">
        <pc:chgData name="Engel, Troy [JJCUS NON-J&amp;J]" userId="eab39b0b-0874-4185-ab60-88940d3b579c" providerId="ADAL" clId="{78728C2F-A187-4622-BD57-268CCEBEC62C}" dt="2024-02-29T23:46:20.790" v="225" actId="47"/>
        <pc:sldMkLst>
          <pc:docMk/>
          <pc:sldMk cId="3309617924" sldId="325"/>
        </pc:sldMkLst>
      </pc:sldChg>
      <pc:sldChg chg="del">
        <pc:chgData name="Engel, Troy [JJCUS NON-J&amp;J]" userId="eab39b0b-0874-4185-ab60-88940d3b579c" providerId="ADAL" clId="{78728C2F-A187-4622-BD57-268CCEBEC62C}" dt="2024-02-29T23:56:38.308" v="338" actId="47"/>
        <pc:sldMkLst>
          <pc:docMk/>
          <pc:sldMk cId="348362067" sldId="326"/>
        </pc:sldMkLst>
      </pc:sldChg>
      <pc:sldChg chg="del">
        <pc:chgData name="Engel, Troy [JJCUS NON-J&amp;J]" userId="eab39b0b-0874-4185-ab60-88940d3b579c" providerId="ADAL" clId="{78728C2F-A187-4622-BD57-268CCEBEC62C}" dt="2024-02-29T23:56:43.683" v="341" actId="47"/>
        <pc:sldMkLst>
          <pc:docMk/>
          <pc:sldMk cId="3473314131" sldId="327"/>
        </pc:sldMkLst>
      </pc:sldChg>
      <pc:sldChg chg="del">
        <pc:chgData name="Engel, Troy [JJCUS NON-J&amp;J]" userId="eab39b0b-0874-4185-ab60-88940d3b579c" providerId="ADAL" clId="{78728C2F-A187-4622-BD57-268CCEBEC62C}" dt="2024-02-29T23:56:44.933" v="342" actId="47"/>
        <pc:sldMkLst>
          <pc:docMk/>
          <pc:sldMk cId="902403675" sldId="328"/>
        </pc:sldMkLst>
      </pc:sldChg>
      <pc:sldChg chg="del">
        <pc:chgData name="Engel, Troy [JJCUS NON-J&amp;J]" userId="eab39b0b-0874-4185-ab60-88940d3b579c" providerId="ADAL" clId="{78728C2F-A187-4622-BD57-268CCEBEC62C}" dt="2024-02-29T23:56:53.980" v="343" actId="47"/>
        <pc:sldMkLst>
          <pc:docMk/>
          <pc:sldMk cId="594082174" sldId="329"/>
        </pc:sldMkLst>
      </pc:sldChg>
      <pc:sldChg chg="del">
        <pc:chgData name="Engel, Troy [JJCUS NON-J&amp;J]" userId="eab39b0b-0874-4185-ab60-88940d3b579c" providerId="ADAL" clId="{78728C2F-A187-4622-BD57-268CCEBEC62C}" dt="2024-02-29T23:57:00.371" v="344" actId="47"/>
        <pc:sldMkLst>
          <pc:docMk/>
          <pc:sldMk cId="1530874168" sldId="330"/>
        </pc:sldMkLst>
      </pc:sldChg>
      <pc:sldChg chg="del">
        <pc:chgData name="Engel, Troy [JJCUS NON-J&amp;J]" userId="eab39b0b-0874-4185-ab60-88940d3b579c" providerId="ADAL" clId="{78728C2F-A187-4622-BD57-268CCEBEC62C}" dt="2024-03-01T00:22:40.032" v="904" actId="47"/>
        <pc:sldMkLst>
          <pc:docMk/>
          <pc:sldMk cId="1083398986" sldId="332"/>
        </pc:sldMkLst>
      </pc:sldChg>
      <pc:sldChg chg="del">
        <pc:chgData name="Engel, Troy [JJCUS NON-J&amp;J]" userId="eab39b0b-0874-4185-ab60-88940d3b579c" providerId="ADAL" clId="{78728C2F-A187-4622-BD57-268CCEBEC62C}" dt="2024-03-01T00:22:41.906" v="905" actId="47"/>
        <pc:sldMkLst>
          <pc:docMk/>
          <pc:sldMk cId="629080614" sldId="333"/>
        </pc:sldMkLst>
      </pc:sldChg>
      <pc:sldChg chg="del">
        <pc:chgData name="Engel, Troy [JJCUS NON-J&amp;J]" userId="eab39b0b-0874-4185-ab60-88940d3b579c" providerId="ADAL" clId="{78728C2F-A187-4622-BD57-268CCEBEC62C}" dt="2024-03-01T00:22:44.969" v="906" actId="47"/>
        <pc:sldMkLst>
          <pc:docMk/>
          <pc:sldMk cId="2494580934" sldId="334"/>
        </pc:sldMkLst>
      </pc:sldChg>
      <pc:sldChg chg="del">
        <pc:chgData name="Engel, Troy [JJCUS NON-J&amp;J]" userId="eab39b0b-0874-4185-ab60-88940d3b579c" providerId="ADAL" clId="{78728C2F-A187-4622-BD57-268CCEBEC62C}" dt="2024-03-01T00:23:20.001" v="922" actId="47"/>
        <pc:sldMkLst>
          <pc:docMk/>
          <pc:sldMk cId="826620847" sldId="335"/>
        </pc:sldMkLst>
      </pc:sldChg>
      <pc:sldChg chg="del">
        <pc:chgData name="Engel, Troy [JJCUS NON-J&amp;J]" userId="eab39b0b-0874-4185-ab60-88940d3b579c" providerId="ADAL" clId="{78728C2F-A187-4622-BD57-268CCEBEC62C}" dt="2024-03-01T00:22:45.719" v="907" actId="47"/>
        <pc:sldMkLst>
          <pc:docMk/>
          <pc:sldMk cId="537196890" sldId="336"/>
        </pc:sldMkLst>
      </pc:sldChg>
      <pc:sldChg chg="del">
        <pc:chgData name="Engel, Troy [JJCUS NON-J&amp;J]" userId="eab39b0b-0874-4185-ab60-88940d3b579c" providerId="ADAL" clId="{78728C2F-A187-4622-BD57-268CCEBEC62C}" dt="2024-03-01T00:22:52.766" v="916" actId="47"/>
        <pc:sldMkLst>
          <pc:docMk/>
          <pc:sldMk cId="1117606367" sldId="343"/>
        </pc:sldMkLst>
      </pc:sldChg>
      <pc:sldChg chg="del">
        <pc:chgData name="Engel, Troy [JJCUS NON-J&amp;J]" userId="eab39b0b-0874-4185-ab60-88940d3b579c" providerId="ADAL" clId="{78728C2F-A187-4622-BD57-268CCEBEC62C}" dt="2024-03-01T00:22:51.172" v="914" actId="47"/>
        <pc:sldMkLst>
          <pc:docMk/>
          <pc:sldMk cId="1087751016" sldId="344"/>
        </pc:sldMkLst>
      </pc:sldChg>
      <pc:sldChg chg="addSp delSp modSp add del mod ord">
        <pc:chgData name="Engel, Troy [JJCUS NON-J&amp;J]" userId="eab39b0b-0874-4185-ab60-88940d3b579c" providerId="ADAL" clId="{78728C2F-A187-4622-BD57-268CCEBEC62C}" dt="2024-03-01T01:01:26.273" v="1498" actId="478"/>
        <pc:sldMkLst>
          <pc:docMk/>
          <pc:sldMk cId="1165562104" sldId="345"/>
        </pc:sldMkLst>
        <pc:spChg chg="mod">
          <ac:chgData name="Engel, Troy [JJCUS NON-J&amp;J]" userId="eab39b0b-0874-4185-ab60-88940d3b579c" providerId="ADAL" clId="{78728C2F-A187-4622-BD57-268CCEBEC62C}" dt="2024-03-01T00:43:43.629" v="1056" actId="1036"/>
          <ac:spMkLst>
            <pc:docMk/>
            <pc:sldMk cId="1165562104" sldId="345"/>
            <ac:spMk id="3" creationId="{104A6BD2-7745-F84C-A2B4-4E2920A6EC1B}"/>
          </ac:spMkLst>
        </pc:spChg>
        <pc:spChg chg="mod">
          <ac:chgData name="Engel, Troy [JJCUS NON-J&amp;J]" userId="eab39b0b-0874-4185-ab60-88940d3b579c" providerId="ADAL" clId="{78728C2F-A187-4622-BD57-268CCEBEC62C}" dt="2024-03-01T00:47:22.677" v="1177" actId="1036"/>
          <ac:spMkLst>
            <pc:docMk/>
            <pc:sldMk cId="1165562104" sldId="345"/>
            <ac:spMk id="4" creationId="{FB4D8529-79DD-FD46-B5A7-628F64FAF19C}"/>
          </ac:spMkLst>
        </pc:spChg>
        <pc:spChg chg="del">
          <ac:chgData name="Engel, Troy [JJCUS NON-J&amp;J]" userId="eab39b0b-0874-4185-ab60-88940d3b579c" providerId="ADAL" clId="{78728C2F-A187-4622-BD57-268CCEBEC62C}" dt="2024-03-01T01:01:26.273" v="1498" actId="478"/>
          <ac:spMkLst>
            <pc:docMk/>
            <pc:sldMk cId="1165562104" sldId="345"/>
            <ac:spMk id="5" creationId="{EE7F5951-5C0E-BD4E-A39F-09BF6DDF2C0A}"/>
          </ac:spMkLst>
        </pc:spChg>
        <pc:spChg chg="mod">
          <ac:chgData name="Engel, Troy [JJCUS NON-J&amp;J]" userId="eab39b0b-0874-4185-ab60-88940d3b579c" providerId="ADAL" clId="{78728C2F-A187-4622-BD57-268CCEBEC62C}" dt="2024-03-01T00:43:36.629" v="1045" actId="1037"/>
          <ac:spMkLst>
            <pc:docMk/>
            <pc:sldMk cId="1165562104" sldId="345"/>
            <ac:spMk id="11" creationId="{00000000-0000-0000-0000-000000000000}"/>
          </ac:spMkLst>
        </pc:spChg>
        <pc:spChg chg="mod">
          <ac:chgData name="Engel, Troy [JJCUS NON-J&amp;J]" userId="eab39b0b-0874-4185-ab60-88940d3b579c" providerId="ADAL" clId="{78728C2F-A187-4622-BD57-268CCEBEC62C}" dt="2024-03-01T00:47:27.724" v="1180" actId="1036"/>
          <ac:spMkLst>
            <pc:docMk/>
            <pc:sldMk cId="1165562104" sldId="345"/>
            <ac:spMk id="12" creationId="{00000000-0000-0000-0000-000000000000}"/>
          </ac:spMkLst>
        </pc:spChg>
        <pc:spChg chg="mod">
          <ac:chgData name="Engel, Troy [JJCUS NON-J&amp;J]" userId="eab39b0b-0874-4185-ab60-88940d3b579c" providerId="ADAL" clId="{78728C2F-A187-4622-BD57-268CCEBEC62C}" dt="2024-03-01T00:54:46.725" v="1437" actId="20577"/>
          <ac:spMkLst>
            <pc:docMk/>
            <pc:sldMk cId="1165562104" sldId="345"/>
            <ac:spMk id="16" creationId="{0BE243BC-C444-F84F-9BA9-7D5E1EC9FC68}"/>
          </ac:spMkLst>
        </pc:spChg>
        <pc:picChg chg="add mod">
          <ac:chgData name="Engel, Troy [JJCUS NON-J&amp;J]" userId="eab39b0b-0874-4185-ab60-88940d3b579c" providerId="ADAL" clId="{78728C2F-A187-4622-BD57-268CCEBEC62C}" dt="2024-03-01T00:43:36.629" v="1045" actId="1037"/>
          <ac:picMkLst>
            <pc:docMk/>
            <pc:sldMk cId="1165562104" sldId="345"/>
            <ac:picMk id="7" creationId="{4494B007-1EC4-2D51-AF9E-9D2259DB51F2}"/>
          </ac:picMkLst>
        </pc:picChg>
        <pc:picChg chg="add mod">
          <ac:chgData name="Engel, Troy [JJCUS NON-J&amp;J]" userId="eab39b0b-0874-4185-ab60-88940d3b579c" providerId="ADAL" clId="{78728C2F-A187-4622-BD57-268CCEBEC62C}" dt="2024-03-01T00:50:47.615" v="1415" actId="1037"/>
          <ac:picMkLst>
            <pc:docMk/>
            <pc:sldMk cId="1165562104" sldId="345"/>
            <ac:picMk id="9" creationId="{9A8758DD-5712-8D1D-45D3-2D03CFD68C62}"/>
          </ac:picMkLst>
        </pc:picChg>
        <pc:picChg chg="del mod">
          <ac:chgData name="Engel, Troy [JJCUS NON-J&amp;J]" userId="eab39b0b-0874-4185-ab60-88940d3b579c" providerId="ADAL" clId="{78728C2F-A187-4622-BD57-268CCEBEC62C}" dt="2024-03-01T00:41:19.754" v="973" actId="478"/>
          <ac:picMkLst>
            <pc:docMk/>
            <pc:sldMk cId="1165562104" sldId="345"/>
            <ac:picMk id="10" creationId="{2BE194C1-239C-AF48-98D9-3983909645F1}"/>
          </ac:picMkLst>
        </pc:picChg>
        <pc:picChg chg="del">
          <ac:chgData name="Engel, Troy [JJCUS NON-J&amp;J]" userId="eab39b0b-0874-4185-ab60-88940d3b579c" providerId="ADAL" clId="{78728C2F-A187-4622-BD57-268CCEBEC62C}" dt="2024-03-01T00:43:50.801" v="1057" actId="478"/>
          <ac:picMkLst>
            <pc:docMk/>
            <pc:sldMk cId="1165562104" sldId="345"/>
            <ac:picMk id="15" creationId="{8D384FC0-D792-A844-B8F1-DE41DDB6C057}"/>
          </ac:picMkLst>
        </pc:picChg>
        <pc:picChg chg="add del mod">
          <ac:chgData name="Engel, Troy [JJCUS NON-J&amp;J]" userId="eab39b0b-0874-4185-ab60-88940d3b579c" providerId="ADAL" clId="{78728C2F-A187-4622-BD57-268CCEBEC62C}" dt="2024-03-01T00:46:17.942" v="1060" actId="478"/>
          <ac:picMkLst>
            <pc:docMk/>
            <pc:sldMk cId="1165562104" sldId="345"/>
            <ac:picMk id="17" creationId="{790B9BF8-85C4-422E-6D81-1A2162729F6A}"/>
          </ac:picMkLst>
        </pc:picChg>
        <pc:picChg chg="add mod">
          <ac:chgData name="Engel, Troy [JJCUS NON-J&amp;J]" userId="eab39b0b-0874-4185-ab60-88940d3b579c" providerId="ADAL" clId="{78728C2F-A187-4622-BD57-268CCEBEC62C}" dt="2024-03-01T00:48:11.958" v="1245" actId="1076"/>
          <ac:picMkLst>
            <pc:docMk/>
            <pc:sldMk cId="1165562104" sldId="345"/>
            <ac:picMk id="19" creationId="{3FC52794-5AC2-FB3E-1CAC-806E6DA9A5EC}"/>
          </ac:picMkLst>
        </pc:picChg>
      </pc:sldChg>
      <pc:sldChg chg="del">
        <pc:chgData name="Engel, Troy [JJCUS NON-J&amp;J]" userId="eab39b0b-0874-4185-ab60-88940d3b579c" providerId="ADAL" clId="{78728C2F-A187-4622-BD57-268CCEBEC62C}" dt="2024-03-01T00:23:27.485" v="924" actId="47"/>
        <pc:sldMkLst>
          <pc:docMk/>
          <pc:sldMk cId="2140803981" sldId="346"/>
        </pc:sldMkLst>
      </pc:sldChg>
      <pc:sldChg chg="del">
        <pc:chgData name="Engel, Troy [JJCUS NON-J&amp;J]" userId="eab39b0b-0874-4185-ab60-88940d3b579c" providerId="ADAL" clId="{78728C2F-A187-4622-BD57-268CCEBEC62C}" dt="2024-03-01T00:23:43.704" v="929" actId="47"/>
        <pc:sldMkLst>
          <pc:docMk/>
          <pc:sldMk cId="1616558844" sldId="349"/>
        </pc:sldMkLst>
      </pc:sldChg>
      <pc:sldChg chg="del">
        <pc:chgData name="Engel, Troy [JJCUS NON-J&amp;J]" userId="eab39b0b-0874-4185-ab60-88940d3b579c" providerId="ADAL" clId="{78728C2F-A187-4622-BD57-268CCEBEC62C}" dt="2024-03-01T00:23:46.079" v="930" actId="47"/>
        <pc:sldMkLst>
          <pc:docMk/>
          <pc:sldMk cId="2390378785" sldId="350"/>
        </pc:sldMkLst>
      </pc:sldChg>
      <pc:sldChg chg="del">
        <pc:chgData name="Engel, Troy [JJCUS NON-J&amp;J]" userId="eab39b0b-0874-4185-ab60-88940d3b579c" providerId="ADAL" clId="{78728C2F-A187-4622-BD57-268CCEBEC62C}" dt="2024-03-01T00:22:47.594" v="909" actId="47"/>
        <pc:sldMkLst>
          <pc:docMk/>
          <pc:sldMk cId="4176557913" sldId="351"/>
        </pc:sldMkLst>
      </pc:sldChg>
      <pc:sldChg chg="del">
        <pc:chgData name="Engel, Troy [JJCUS NON-J&amp;J]" userId="eab39b0b-0874-4185-ab60-88940d3b579c" providerId="ADAL" clId="{78728C2F-A187-4622-BD57-268CCEBEC62C}" dt="2024-02-29T23:46:12.197" v="214" actId="47"/>
        <pc:sldMkLst>
          <pc:docMk/>
          <pc:sldMk cId="2062702624" sldId="361"/>
        </pc:sldMkLst>
      </pc:sldChg>
      <pc:sldChg chg="del">
        <pc:chgData name="Engel, Troy [JJCUS NON-J&amp;J]" userId="eab39b0b-0874-4185-ab60-88940d3b579c" providerId="ADAL" clId="{78728C2F-A187-4622-BD57-268CCEBEC62C}" dt="2024-03-01T00:23:48.282" v="932" actId="47"/>
        <pc:sldMkLst>
          <pc:docMk/>
          <pc:sldMk cId="3334356059" sldId="362"/>
        </pc:sldMkLst>
      </pc:sldChg>
      <pc:sldChg chg="del">
        <pc:chgData name="Engel, Troy [JJCUS NON-J&amp;J]" userId="eab39b0b-0874-4185-ab60-88940d3b579c" providerId="ADAL" clId="{78728C2F-A187-4622-BD57-268CCEBEC62C}" dt="2024-03-01T00:23:50.047" v="933" actId="47"/>
        <pc:sldMkLst>
          <pc:docMk/>
          <pc:sldMk cId="795181378" sldId="363"/>
        </pc:sldMkLst>
      </pc:sldChg>
      <pc:sldChg chg="del">
        <pc:chgData name="Engel, Troy [JJCUS NON-J&amp;J]" userId="eab39b0b-0874-4185-ab60-88940d3b579c" providerId="ADAL" clId="{78728C2F-A187-4622-BD57-268CCEBEC62C}" dt="2024-03-01T00:23:51.266" v="934" actId="47"/>
        <pc:sldMkLst>
          <pc:docMk/>
          <pc:sldMk cId="3948085558" sldId="364"/>
        </pc:sldMkLst>
      </pc:sldChg>
      <pc:sldChg chg="del">
        <pc:chgData name="Engel, Troy [JJCUS NON-J&amp;J]" userId="eab39b0b-0874-4185-ab60-88940d3b579c" providerId="ADAL" clId="{78728C2F-A187-4622-BD57-268CCEBEC62C}" dt="2024-03-01T00:22:20.500" v="902" actId="47"/>
        <pc:sldMkLst>
          <pc:docMk/>
          <pc:sldMk cId="1347016956" sldId="365"/>
        </pc:sldMkLst>
      </pc:sldChg>
      <pc:sldChg chg="del">
        <pc:chgData name="Engel, Troy [JJCUS NON-J&amp;J]" userId="eab39b0b-0874-4185-ab60-88940d3b579c" providerId="ADAL" clId="{78728C2F-A187-4622-BD57-268CCEBEC62C}" dt="2024-03-01T00:22:48.516" v="910" actId="47"/>
        <pc:sldMkLst>
          <pc:docMk/>
          <pc:sldMk cId="581527703" sldId="367"/>
        </pc:sldMkLst>
      </pc:sldChg>
      <pc:sldChg chg="del">
        <pc:chgData name="Engel, Troy [JJCUS NON-J&amp;J]" userId="eab39b0b-0874-4185-ab60-88940d3b579c" providerId="ADAL" clId="{78728C2F-A187-4622-BD57-268CCEBEC62C}" dt="2024-03-01T00:22:46.797" v="908" actId="47"/>
        <pc:sldMkLst>
          <pc:docMk/>
          <pc:sldMk cId="3929030198" sldId="372"/>
        </pc:sldMkLst>
      </pc:sldChg>
      <pc:sldChg chg="del">
        <pc:chgData name="Engel, Troy [JJCUS NON-J&amp;J]" userId="eab39b0b-0874-4185-ab60-88940d3b579c" providerId="ADAL" clId="{78728C2F-A187-4622-BD57-268CCEBEC62C}" dt="2024-03-01T00:22:50.360" v="913" actId="47"/>
        <pc:sldMkLst>
          <pc:docMk/>
          <pc:sldMk cId="3760210356" sldId="374"/>
        </pc:sldMkLst>
      </pc:sldChg>
      <pc:sldChg chg="del">
        <pc:chgData name="Engel, Troy [JJCUS NON-J&amp;J]" userId="eab39b0b-0874-4185-ab60-88940d3b579c" providerId="ADAL" clId="{78728C2F-A187-4622-BD57-268CCEBEC62C}" dt="2024-03-01T00:22:52.141" v="915" actId="47"/>
        <pc:sldMkLst>
          <pc:docMk/>
          <pc:sldMk cId="1573766235" sldId="375"/>
        </pc:sldMkLst>
      </pc:sldChg>
      <pc:sldChg chg="del">
        <pc:chgData name="Engel, Troy [JJCUS NON-J&amp;J]" userId="eab39b0b-0874-4185-ab60-88940d3b579c" providerId="ADAL" clId="{78728C2F-A187-4622-BD57-268CCEBEC62C}" dt="2024-02-29T23:46:16.165" v="220" actId="47"/>
        <pc:sldMkLst>
          <pc:docMk/>
          <pc:sldMk cId="2588231812" sldId="376"/>
        </pc:sldMkLst>
      </pc:sldChg>
      <pc:sldChg chg="del">
        <pc:chgData name="Engel, Troy [JJCUS NON-J&amp;J]" userId="eab39b0b-0874-4185-ab60-88940d3b579c" providerId="ADAL" clId="{78728C2F-A187-4622-BD57-268CCEBEC62C}" dt="2024-02-29T23:42:09.977" v="202" actId="47"/>
        <pc:sldMkLst>
          <pc:docMk/>
          <pc:sldMk cId="3958018474" sldId="377"/>
        </pc:sldMkLst>
      </pc:sldChg>
      <pc:sldChg chg="del">
        <pc:chgData name="Engel, Troy [JJCUS NON-J&amp;J]" userId="eab39b0b-0874-4185-ab60-88940d3b579c" providerId="ADAL" clId="{78728C2F-A187-4622-BD57-268CCEBEC62C}" dt="2024-02-29T23:56:31.027" v="335" actId="47"/>
        <pc:sldMkLst>
          <pc:docMk/>
          <pc:sldMk cId="3524246778" sldId="382"/>
        </pc:sldMkLst>
      </pc:sldChg>
      <pc:sldChg chg="del">
        <pc:chgData name="Engel, Troy [JJCUS NON-J&amp;J]" userId="eab39b0b-0874-4185-ab60-88940d3b579c" providerId="ADAL" clId="{78728C2F-A187-4622-BD57-268CCEBEC62C}" dt="2024-03-01T00:23:37.688" v="928" actId="47"/>
        <pc:sldMkLst>
          <pc:docMk/>
          <pc:sldMk cId="150185075" sldId="472"/>
        </pc:sldMkLst>
      </pc:sldChg>
      <pc:sldChg chg="del">
        <pc:chgData name="Engel, Troy [JJCUS NON-J&amp;J]" userId="eab39b0b-0874-4185-ab60-88940d3b579c" providerId="ADAL" clId="{78728C2F-A187-4622-BD57-268CCEBEC62C}" dt="2024-03-01T00:23:34.344" v="927" actId="47"/>
        <pc:sldMkLst>
          <pc:docMk/>
          <pc:sldMk cId="1716452147" sldId="473"/>
        </pc:sldMkLst>
      </pc:sldChg>
      <pc:sldChg chg="del">
        <pc:chgData name="Engel, Troy [JJCUS NON-J&amp;J]" userId="eab39b0b-0874-4185-ab60-88940d3b579c" providerId="ADAL" clId="{78728C2F-A187-4622-BD57-268CCEBEC62C}" dt="2024-02-29T23:56:28.308" v="334" actId="47"/>
        <pc:sldMkLst>
          <pc:docMk/>
          <pc:sldMk cId="139927907" sldId="474"/>
        </pc:sldMkLst>
      </pc:sldChg>
      <pc:sldChg chg="modSp mod">
        <pc:chgData name="Engel, Troy [JJCUS NON-J&amp;J]" userId="eab39b0b-0874-4185-ab60-88940d3b579c" providerId="ADAL" clId="{78728C2F-A187-4622-BD57-268CCEBEC62C}" dt="2024-03-04T15:13:03.560" v="4237" actId="20577"/>
        <pc:sldMkLst>
          <pc:docMk/>
          <pc:sldMk cId="2453225674" sldId="479"/>
        </pc:sldMkLst>
        <pc:spChg chg="mod">
          <ac:chgData name="Engel, Troy [JJCUS NON-J&amp;J]" userId="eab39b0b-0874-4185-ab60-88940d3b579c" providerId="ADAL" clId="{78728C2F-A187-4622-BD57-268CCEBEC62C}" dt="2024-03-01T21:20:22.284" v="3960" actId="1036"/>
          <ac:spMkLst>
            <pc:docMk/>
            <pc:sldMk cId="2453225674" sldId="479"/>
            <ac:spMk id="8" creationId="{B6005F29-5694-2449-8EE2-B44DD881E6CB}"/>
          </ac:spMkLst>
        </pc:spChg>
        <pc:graphicFrameChg chg="mod modGraphic">
          <ac:chgData name="Engel, Troy [JJCUS NON-J&amp;J]" userId="eab39b0b-0874-4185-ab60-88940d3b579c" providerId="ADAL" clId="{78728C2F-A187-4622-BD57-268CCEBEC62C}" dt="2024-03-04T14:58:35.479" v="4155" actId="554"/>
          <ac:graphicFrameMkLst>
            <pc:docMk/>
            <pc:sldMk cId="2453225674" sldId="479"/>
            <ac:graphicFrameMk id="2" creationId="{11AF8988-5274-3E3E-E17B-31538F0B5130}"/>
          </ac:graphicFrameMkLst>
        </pc:graphicFrameChg>
        <pc:graphicFrameChg chg="mod modGraphic">
          <ac:chgData name="Engel, Troy [JJCUS NON-J&amp;J]" userId="eab39b0b-0874-4185-ab60-88940d3b579c" providerId="ADAL" clId="{78728C2F-A187-4622-BD57-268CCEBEC62C}" dt="2024-03-04T15:00:07.776" v="4182" actId="14100"/>
          <ac:graphicFrameMkLst>
            <pc:docMk/>
            <pc:sldMk cId="2453225674" sldId="479"/>
            <ac:graphicFrameMk id="3" creationId="{04641269-20A3-4614-8C71-44800FA7EF4F}"/>
          </ac:graphicFrameMkLst>
        </pc:graphicFrameChg>
        <pc:graphicFrameChg chg="mod modGraphic">
          <ac:chgData name="Engel, Troy [JJCUS NON-J&amp;J]" userId="eab39b0b-0874-4185-ab60-88940d3b579c" providerId="ADAL" clId="{78728C2F-A187-4622-BD57-268CCEBEC62C}" dt="2024-03-04T14:58:35.479" v="4155" actId="554"/>
          <ac:graphicFrameMkLst>
            <pc:docMk/>
            <pc:sldMk cId="2453225674" sldId="479"/>
            <ac:graphicFrameMk id="4" creationId="{0BE1F36D-CE08-4E29-00E1-D6B715EC359F}"/>
          </ac:graphicFrameMkLst>
        </pc:graphicFrameChg>
        <pc:graphicFrameChg chg="mod modGraphic">
          <ac:chgData name="Engel, Troy [JJCUS NON-J&amp;J]" userId="eab39b0b-0874-4185-ab60-88940d3b579c" providerId="ADAL" clId="{78728C2F-A187-4622-BD57-268CCEBEC62C}" dt="2024-03-01T21:22:26.972" v="3995" actId="14100"/>
          <ac:graphicFrameMkLst>
            <pc:docMk/>
            <pc:sldMk cId="2453225674" sldId="479"/>
            <ac:graphicFrameMk id="14" creationId="{3E31D33F-B074-D16C-D727-DA5D268325BA}"/>
          </ac:graphicFrameMkLst>
        </pc:graphicFrameChg>
        <pc:graphicFrameChg chg="mod modGraphic">
          <ac:chgData name="Engel, Troy [JJCUS NON-J&amp;J]" userId="eab39b0b-0874-4185-ab60-88940d3b579c" providerId="ADAL" clId="{78728C2F-A187-4622-BD57-268CCEBEC62C}" dt="2024-03-04T14:59:52.745" v="4181" actId="14100"/>
          <ac:graphicFrameMkLst>
            <pc:docMk/>
            <pc:sldMk cId="2453225674" sldId="479"/>
            <ac:graphicFrameMk id="19" creationId="{DA28C93A-050C-0C4E-479C-685370ADC5CA}"/>
          </ac:graphicFrameMkLst>
        </pc:graphicFrameChg>
        <pc:graphicFrameChg chg="mod modGraphic">
          <ac:chgData name="Engel, Troy [JJCUS NON-J&amp;J]" userId="eab39b0b-0874-4185-ab60-88940d3b579c" providerId="ADAL" clId="{78728C2F-A187-4622-BD57-268CCEBEC62C}" dt="2024-03-04T15:13:03.560" v="4237" actId="20577"/>
          <ac:graphicFrameMkLst>
            <pc:docMk/>
            <pc:sldMk cId="2453225674" sldId="479"/>
            <ac:graphicFrameMk id="26" creationId="{92441FFA-2AD5-6E44-8FCA-34CCB5215D91}"/>
          </ac:graphicFrameMkLst>
        </pc:graphicFrameChg>
      </pc:sldChg>
      <pc:sldChg chg="del">
        <pc:chgData name="Engel, Troy [JJCUS NON-J&amp;J]" userId="eab39b0b-0874-4185-ab60-88940d3b579c" providerId="ADAL" clId="{78728C2F-A187-4622-BD57-268CCEBEC62C}" dt="2024-02-29T23:56:36.949" v="337" actId="47"/>
        <pc:sldMkLst>
          <pc:docMk/>
          <pc:sldMk cId="3189681451" sldId="549"/>
        </pc:sldMkLst>
      </pc:sldChg>
      <pc:sldChg chg="del">
        <pc:chgData name="Engel, Troy [JJCUS NON-J&amp;J]" userId="eab39b0b-0874-4185-ab60-88940d3b579c" providerId="ADAL" clId="{78728C2F-A187-4622-BD57-268CCEBEC62C}" dt="2024-02-29T23:56:32.246" v="336" actId="47"/>
        <pc:sldMkLst>
          <pc:docMk/>
          <pc:sldMk cId="2295809729" sldId="550"/>
        </pc:sldMkLst>
      </pc:sldChg>
      <pc:sldChg chg="del">
        <pc:chgData name="Engel, Troy [JJCUS NON-J&amp;J]" userId="eab39b0b-0874-4185-ab60-88940d3b579c" providerId="ADAL" clId="{78728C2F-A187-4622-BD57-268CCEBEC62C}" dt="2024-03-01T00:22:32.094" v="903" actId="47"/>
        <pc:sldMkLst>
          <pc:docMk/>
          <pc:sldMk cId="1140756852" sldId="551"/>
        </pc:sldMkLst>
      </pc:sldChg>
      <pc:sldChg chg="del">
        <pc:chgData name="Engel, Troy [JJCUS NON-J&amp;J]" userId="eab39b0b-0874-4185-ab60-88940d3b579c" providerId="ADAL" clId="{78728C2F-A187-4622-BD57-268CCEBEC62C}" dt="2024-03-01T00:22:49.094" v="911" actId="47"/>
        <pc:sldMkLst>
          <pc:docMk/>
          <pc:sldMk cId="4066769075" sldId="553"/>
        </pc:sldMkLst>
      </pc:sldChg>
      <pc:sldChg chg="del">
        <pc:chgData name="Engel, Troy [JJCUS NON-J&amp;J]" userId="eab39b0b-0874-4185-ab60-88940d3b579c" providerId="ADAL" clId="{78728C2F-A187-4622-BD57-268CCEBEC62C}" dt="2024-03-01T00:22:49.750" v="912" actId="47"/>
        <pc:sldMkLst>
          <pc:docMk/>
          <pc:sldMk cId="1596218443" sldId="554"/>
        </pc:sldMkLst>
      </pc:sldChg>
      <pc:sldChg chg="del">
        <pc:chgData name="Engel, Troy [JJCUS NON-J&amp;J]" userId="eab39b0b-0874-4185-ab60-88940d3b579c" providerId="ADAL" clId="{78728C2F-A187-4622-BD57-268CCEBEC62C}" dt="2024-03-01T00:23:33.391" v="926" actId="47"/>
        <pc:sldMkLst>
          <pc:docMk/>
          <pc:sldMk cId="3700474065" sldId="557"/>
        </pc:sldMkLst>
      </pc:sldChg>
      <pc:sldChg chg="del">
        <pc:chgData name="Engel, Troy [JJCUS NON-J&amp;J]" userId="eab39b0b-0874-4185-ab60-88940d3b579c" providerId="ADAL" clId="{78728C2F-A187-4622-BD57-268CCEBEC62C}" dt="2024-03-01T00:23:29.422" v="925" actId="47"/>
        <pc:sldMkLst>
          <pc:docMk/>
          <pc:sldMk cId="4073557444" sldId="558"/>
        </pc:sldMkLst>
      </pc:sldChg>
      <pc:sldChg chg="del">
        <pc:chgData name="Engel, Troy [JJCUS NON-J&amp;J]" userId="eab39b0b-0874-4185-ab60-88940d3b579c" providerId="ADAL" clId="{78728C2F-A187-4622-BD57-268CCEBEC62C}" dt="2024-02-29T23:56:42.777" v="340" actId="47"/>
        <pc:sldMkLst>
          <pc:docMk/>
          <pc:sldMk cId="1745077176" sldId="559"/>
        </pc:sldMkLst>
      </pc:sldChg>
      <pc:sldChg chg="modSp mod">
        <pc:chgData name="Engel, Troy [JJCUS NON-J&amp;J]" userId="eab39b0b-0874-4185-ab60-88940d3b579c" providerId="ADAL" clId="{78728C2F-A187-4622-BD57-268CCEBEC62C}" dt="2024-02-29T23:09:34.174" v="52" actId="20577"/>
        <pc:sldMkLst>
          <pc:docMk/>
          <pc:sldMk cId="3325743634" sldId="2141410641"/>
        </pc:sldMkLst>
        <pc:spChg chg="mod">
          <ac:chgData name="Engel, Troy [JJCUS NON-J&amp;J]" userId="eab39b0b-0874-4185-ab60-88940d3b579c" providerId="ADAL" clId="{78728C2F-A187-4622-BD57-268CCEBEC62C}" dt="2024-02-29T23:08:56.580" v="1" actId="27636"/>
          <ac:spMkLst>
            <pc:docMk/>
            <pc:sldMk cId="3325743634" sldId="2141410641"/>
            <ac:spMk id="2" creationId="{32419DCE-E2AF-6943-B6FF-4A7AC247B383}"/>
          </ac:spMkLst>
        </pc:spChg>
        <pc:spChg chg="mod">
          <ac:chgData name="Engel, Troy [JJCUS NON-J&amp;J]" userId="eab39b0b-0874-4185-ab60-88940d3b579c" providerId="ADAL" clId="{78728C2F-A187-4622-BD57-268CCEBEC62C}" dt="2024-02-29T23:09:34.174" v="52" actId="20577"/>
          <ac:spMkLst>
            <pc:docMk/>
            <pc:sldMk cId="3325743634" sldId="2141410641"/>
            <ac:spMk id="5" creationId="{AD74E9A9-E9CA-C549-AE0D-EEE19F3100A9}"/>
          </ac:spMkLst>
        </pc:spChg>
      </pc:sldChg>
      <pc:sldChg chg="del">
        <pc:chgData name="Engel, Troy [JJCUS NON-J&amp;J]" userId="eab39b0b-0874-4185-ab60-88940d3b579c" providerId="ADAL" clId="{78728C2F-A187-4622-BD57-268CCEBEC62C}" dt="2024-02-29T23:46:03.415" v="210" actId="47"/>
        <pc:sldMkLst>
          <pc:docMk/>
          <pc:sldMk cId="2571573245" sldId="2141410647"/>
        </pc:sldMkLst>
      </pc:sldChg>
      <pc:sldChg chg="del">
        <pc:chgData name="Engel, Troy [JJCUS NON-J&amp;J]" userId="eab39b0b-0874-4185-ab60-88940d3b579c" providerId="ADAL" clId="{78728C2F-A187-4622-BD57-268CCEBEC62C}" dt="2024-02-29T23:46:08.868" v="211" actId="47"/>
        <pc:sldMkLst>
          <pc:docMk/>
          <pc:sldMk cId="3783787026" sldId="2141410648"/>
        </pc:sldMkLst>
      </pc:sldChg>
      <pc:sldChg chg="del">
        <pc:chgData name="Engel, Troy [JJCUS NON-J&amp;J]" userId="eab39b0b-0874-4185-ab60-88940d3b579c" providerId="ADAL" clId="{78728C2F-A187-4622-BD57-268CCEBEC62C}" dt="2024-02-29T23:45:42.134" v="209" actId="2696"/>
        <pc:sldMkLst>
          <pc:docMk/>
          <pc:sldMk cId="3339406917" sldId="2141410655"/>
        </pc:sldMkLst>
      </pc:sldChg>
      <pc:sldChg chg="modNotes">
        <pc:chgData name="Engel, Troy [JJCUS NON-J&amp;J]" userId="eab39b0b-0874-4185-ab60-88940d3b579c" providerId="ADAL" clId="{78728C2F-A187-4622-BD57-268CCEBEC62C}" dt="2024-02-29T23:44:55.884" v="208" actId="27636"/>
        <pc:sldMkLst>
          <pc:docMk/>
          <pc:sldMk cId="1625625234" sldId="2145705234"/>
        </pc:sldMkLst>
      </pc:sldChg>
      <pc:sldChg chg="add del">
        <pc:chgData name="Engel, Troy [JJCUS NON-J&amp;J]" userId="eab39b0b-0874-4185-ab60-88940d3b579c" providerId="ADAL" clId="{78728C2F-A187-4622-BD57-268CCEBEC62C}" dt="2024-02-29T23:40:57.914" v="200"/>
        <pc:sldMkLst>
          <pc:docMk/>
          <pc:sldMk cId="1196458229" sldId="2147478911"/>
        </pc:sldMkLst>
      </pc:sldChg>
      <pc:sldChg chg="delSp modSp add del mod">
        <pc:chgData name="Engel, Troy [JJCUS NON-J&amp;J]" userId="eab39b0b-0874-4185-ab60-88940d3b579c" providerId="ADAL" clId="{78728C2F-A187-4622-BD57-268CCEBEC62C}" dt="2024-02-29T23:48:21.119" v="229" actId="1076"/>
        <pc:sldMkLst>
          <pc:docMk/>
          <pc:sldMk cId="2483496583" sldId="2147478912"/>
        </pc:sldMkLst>
        <pc:spChg chg="del">
          <ac:chgData name="Engel, Troy [JJCUS NON-J&amp;J]" userId="eab39b0b-0874-4185-ab60-88940d3b579c" providerId="ADAL" clId="{78728C2F-A187-4622-BD57-268CCEBEC62C}" dt="2024-02-29T23:47:58.697" v="227" actId="478"/>
          <ac:spMkLst>
            <pc:docMk/>
            <pc:sldMk cId="2483496583" sldId="2147478912"/>
            <ac:spMk id="2" creationId="{1CAA2C63-E040-929A-BBCB-16BB4F7D0CF1}"/>
          </ac:spMkLst>
        </pc:spChg>
        <pc:picChg chg="mod">
          <ac:chgData name="Engel, Troy [JJCUS NON-J&amp;J]" userId="eab39b0b-0874-4185-ab60-88940d3b579c" providerId="ADAL" clId="{78728C2F-A187-4622-BD57-268CCEBEC62C}" dt="2024-02-29T23:48:21.119" v="229" actId="1076"/>
          <ac:picMkLst>
            <pc:docMk/>
            <pc:sldMk cId="2483496583" sldId="2147478912"/>
            <ac:picMk id="16" creationId="{58110563-9CE1-5E41-59F6-17EDFC575BE1}"/>
          </ac:picMkLst>
        </pc:picChg>
      </pc:sldChg>
      <pc:sldChg chg="modSp add del mod">
        <pc:chgData name="Engel, Troy [JJCUS NON-J&amp;J]" userId="eab39b0b-0874-4185-ab60-88940d3b579c" providerId="ADAL" clId="{78728C2F-A187-4622-BD57-268CCEBEC62C}" dt="2024-02-29T23:55:37.134" v="333" actId="1036"/>
        <pc:sldMkLst>
          <pc:docMk/>
          <pc:sldMk cId="2120427637" sldId="2147478913"/>
        </pc:sldMkLst>
        <pc:graphicFrameChg chg="mod modGraphic">
          <ac:chgData name="Engel, Troy [JJCUS NON-J&amp;J]" userId="eab39b0b-0874-4185-ab60-88940d3b579c" providerId="ADAL" clId="{78728C2F-A187-4622-BD57-268CCEBEC62C}" dt="2024-02-29T23:55:37.134" v="333" actId="1036"/>
          <ac:graphicFrameMkLst>
            <pc:docMk/>
            <pc:sldMk cId="2120427637" sldId="2147478913"/>
            <ac:graphicFrameMk id="5" creationId="{EEA505C5-8326-B5A6-B0EE-AAEACF4F19FB}"/>
          </ac:graphicFrameMkLst>
        </pc:graphicFrameChg>
      </pc:sldChg>
      <pc:sldChg chg="addSp modSp mod">
        <pc:chgData name="Engel, Troy [JJCUS NON-J&amp;J]" userId="eab39b0b-0874-4185-ab60-88940d3b579c" providerId="ADAL" clId="{78728C2F-A187-4622-BD57-268CCEBEC62C}" dt="2024-03-01T20:05:39.503" v="3622" actId="1037"/>
        <pc:sldMkLst>
          <pc:docMk/>
          <pc:sldMk cId="269316521" sldId="2147478917"/>
        </pc:sldMkLst>
        <pc:spChg chg="add mod">
          <ac:chgData name="Engel, Troy [JJCUS NON-J&amp;J]" userId="eab39b0b-0874-4185-ab60-88940d3b579c" providerId="ADAL" clId="{78728C2F-A187-4622-BD57-268CCEBEC62C}" dt="2024-03-01T20:05:00.800" v="3614" actId="20577"/>
          <ac:spMkLst>
            <pc:docMk/>
            <pc:sldMk cId="269316521" sldId="2147478917"/>
            <ac:spMk id="3" creationId="{601A08DE-14ED-5B0B-8370-8BB3CF89A676}"/>
          </ac:spMkLst>
        </pc:spChg>
        <pc:spChg chg="add mod">
          <ac:chgData name="Engel, Troy [JJCUS NON-J&amp;J]" userId="eab39b0b-0874-4185-ab60-88940d3b579c" providerId="ADAL" clId="{78728C2F-A187-4622-BD57-268CCEBEC62C}" dt="2024-03-01T20:05:39.503" v="3622" actId="1037"/>
          <ac:spMkLst>
            <pc:docMk/>
            <pc:sldMk cId="269316521" sldId="2147478917"/>
            <ac:spMk id="8" creationId="{76BABCB9-492E-EB50-5FDA-0F607010C332}"/>
          </ac:spMkLst>
        </pc:spChg>
        <pc:spChg chg="add mod">
          <ac:chgData name="Engel, Troy [JJCUS NON-J&amp;J]" userId="eab39b0b-0874-4185-ab60-88940d3b579c" providerId="ADAL" clId="{78728C2F-A187-4622-BD57-268CCEBEC62C}" dt="2024-03-01T20:03:34.862" v="3576" actId="1035"/>
          <ac:spMkLst>
            <pc:docMk/>
            <pc:sldMk cId="269316521" sldId="2147478917"/>
            <ac:spMk id="13" creationId="{E248D80E-76F7-585D-BC7B-880924C6AC0C}"/>
          </ac:spMkLst>
        </pc:spChg>
        <pc:spChg chg="add mod">
          <ac:chgData name="Engel, Troy [JJCUS NON-J&amp;J]" userId="eab39b0b-0874-4185-ab60-88940d3b579c" providerId="ADAL" clId="{78728C2F-A187-4622-BD57-268CCEBEC62C}" dt="2024-03-01T20:03:57.387" v="3578" actId="1076"/>
          <ac:spMkLst>
            <pc:docMk/>
            <pc:sldMk cId="269316521" sldId="2147478917"/>
            <ac:spMk id="14" creationId="{F5A24744-A13E-0876-FF65-1093C1821386}"/>
          </ac:spMkLst>
        </pc:spChg>
        <pc:spChg chg="add mod">
          <ac:chgData name="Engel, Troy [JJCUS NON-J&amp;J]" userId="eab39b0b-0874-4185-ab60-88940d3b579c" providerId="ADAL" clId="{78728C2F-A187-4622-BD57-268CCEBEC62C}" dt="2024-03-01T20:04:12.612" v="3591" actId="1035"/>
          <ac:spMkLst>
            <pc:docMk/>
            <pc:sldMk cId="269316521" sldId="2147478917"/>
            <ac:spMk id="15" creationId="{BED6D300-1653-E5FF-24C6-B4B7852196D1}"/>
          </ac:spMkLst>
        </pc:spChg>
        <pc:spChg chg="add mod">
          <ac:chgData name="Engel, Troy [JJCUS NON-J&amp;J]" userId="eab39b0b-0874-4185-ab60-88940d3b579c" providerId="ADAL" clId="{78728C2F-A187-4622-BD57-268CCEBEC62C}" dt="2024-03-01T20:04:43.222" v="3596" actId="1036"/>
          <ac:spMkLst>
            <pc:docMk/>
            <pc:sldMk cId="269316521" sldId="2147478917"/>
            <ac:spMk id="16" creationId="{6476EFEC-8751-E565-1E49-4BB45606BC6B}"/>
          </ac:spMkLst>
        </pc:spChg>
      </pc:sldChg>
      <pc:sldChg chg="add del">
        <pc:chgData name="Engel, Troy [JJCUS NON-J&amp;J]" userId="eab39b0b-0874-4185-ab60-88940d3b579c" providerId="ADAL" clId="{78728C2F-A187-4622-BD57-268CCEBEC62C}" dt="2024-02-29T23:40:57.914" v="200"/>
        <pc:sldMkLst>
          <pc:docMk/>
          <pc:sldMk cId="851578706" sldId="2147478918"/>
        </pc:sldMkLst>
      </pc:sldChg>
      <pc:sldChg chg="del">
        <pc:chgData name="Engel, Troy [JJCUS NON-J&amp;J]" userId="eab39b0b-0874-4185-ab60-88940d3b579c" providerId="ADAL" clId="{78728C2F-A187-4622-BD57-268CCEBEC62C}" dt="2024-02-29T23:46:59.400" v="226" actId="47"/>
        <pc:sldMkLst>
          <pc:docMk/>
          <pc:sldMk cId="2304447363" sldId="2147478918"/>
        </pc:sldMkLst>
      </pc:sldChg>
      <pc:sldChg chg="add del">
        <pc:chgData name="Engel, Troy [JJCUS NON-J&amp;J]" userId="eab39b0b-0874-4185-ab60-88940d3b579c" providerId="ADAL" clId="{78728C2F-A187-4622-BD57-268CCEBEC62C}" dt="2024-02-29T23:41:20.227" v="201" actId="2696"/>
        <pc:sldMkLst>
          <pc:docMk/>
          <pc:sldMk cId="904678959" sldId="2147478920"/>
        </pc:sldMkLst>
      </pc:sldChg>
      <pc:sldChg chg="del">
        <pc:chgData name="Engel, Troy [JJCUS NON-J&amp;J]" userId="eab39b0b-0874-4185-ab60-88940d3b579c" providerId="ADAL" clId="{78728C2F-A187-4622-BD57-268CCEBEC62C}" dt="2024-02-29T23:57:05.185" v="345" actId="47"/>
        <pc:sldMkLst>
          <pc:docMk/>
          <pc:sldMk cId="1874739950" sldId="2147478920"/>
        </pc:sldMkLst>
      </pc:sldChg>
      <pc:sldChg chg="add del">
        <pc:chgData name="Engel, Troy [JJCUS NON-J&amp;J]" userId="eab39b0b-0874-4185-ab60-88940d3b579c" providerId="ADAL" clId="{78728C2F-A187-4622-BD57-268CCEBEC62C}" dt="2024-02-29T23:40:57.914" v="200"/>
        <pc:sldMkLst>
          <pc:docMk/>
          <pc:sldMk cId="3436130914" sldId="2147478921"/>
        </pc:sldMkLst>
      </pc:sldChg>
      <pc:sldChg chg="add del">
        <pc:chgData name="Engel, Troy [JJCUS NON-J&amp;J]" userId="eab39b0b-0874-4185-ab60-88940d3b579c" providerId="ADAL" clId="{78728C2F-A187-4622-BD57-268CCEBEC62C}" dt="2024-03-01T00:34:06.456" v="949" actId="47"/>
        <pc:sldMkLst>
          <pc:docMk/>
          <pc:sldMk cId="856591619" sldId="2147478923"/>
        </pc:sldMkLst>
      </pc:sldChg>
      <pc:sldChg chg="add del">
        <pc:chgData name="Engel, Troy [JJCUS NON-J&amp;J]" userId="eab39b0b-0874-4185-ab60-88940d3b579c" providerId="ADAL" clId="{78728C2F-A187-4622-BD57-268CCEBEC62C}" dt="2024-02-29T23:40:57.914" v="200"/>
        <pc:sldMkLst>
          <pc:docMk/>
          <pc:sldMk cId="3008489012" sldId="2147478924"/>
        </pc:sldMkLst>
      </pc:sldChg>
      <pc:sldChg chg="add del">
        <pc:chgData name="Engel, Troy [JJCUS NON-J&amp;J]" userId="eab39b0b-0874-4185-ab60-88940d3b579c" providerId="ADAL" clId="{78728C2F-A187-4622-BD57-268CCEBEC62C}" dt="2024-02-29T23:41:20.227" v="201" actId="2696"/>
        <pc:sldMkLst>
          <pc:docMk/>
          <pc:sldMk cId="3032106510" sldId="2147478925"/>
        </pc:sldMkLst>
      </pc:sldChg>
      <pc:sldChg chg="addSp delSp modSp mod">
        <pc:chgData name="Engel, Troy [JJCUS NON-J&amp;J]" userId="eab39b0b-0874-4185-ab60-88940d3b579c" providerId="ADAL" clId="{78728C2F-A187-4622-BD57-268CCEBEC62C}" dt="2024-03-04T14:51:42.321" v="4079" actId="20577"/>
        <pc:sldMkLst>
          <pc:docMk/>
          <pc:sldMk cId="3756042340" sldId="2147478925"/>
        </pc:sldMkLst>
        <pc:spChg chg="mod">
          <ac:chgData name="Engel, Troy [JJCUS NON-J&amp;J]" userId="eab39b0b-0874-4185-ab60-88940d3b579c" providerId="ADAL" clId="{78728C2F-A187-4622-BD57-268CCEBEC62C}" dt="2024-03-04T14:51:42.321" v="4079" actId="20577"/>
          <ac:spMkLst>
            <pc:docMk/>
            <pc:sldMk cId="3756042340" sldId="2147478925"/>
            <ac:spMk id="4" creationId="{D2F11B74-F80D-3A6E-AED1-AF9DB6924C60}"/>
          </ac:spMkLst>
        </pc:spChg>
        <pc:spChg chg="add mod">
          <ac:chgData name="Engel, Troy [JJCUS NON-J&amp;J]" userId="eab39b0b-0874-4185-ab60-88940d3b579c" providerId="ADAL" clId="{78728C2F-A187-4622-BD57-268CCEBEC62C}" dt="2024-03-01T21:11:10.344" v="3901" actId="1076"/>
          <ac:spMkLst>
            <pc:docMk/>
            <pc:sldMk cId="3756042340" sldId="2147478925"/>
            <ac:spMk id="5" creationId="{D89C364F-6C7B-0A2D-4162-CDAE6E2D4B4F}"/>
          </ac:spMkLst>
        </pc:spChg>
        <pc:spChg chg="add mod">
          <ac:chgData name="Engel, Troy [JJCUS NON-J&amp;J]" userId="eab39b0b-0874-4185-ab60-88940d3b579c" providerId="ADAL" clId="{78728C2F-A187-4622-BD57-268CCEBEC62C}" dt="2024-03-01T20:16:09.458" v="3792" actId="1036"/>
          <ac:spMkLst>
            <pc:docMk/>
            <pc:sldMk cId="3756042340" sldId="2147478925"/>
            <ac:spMk id="6" creationId="{EE69EE14-ECF5-BB3B-360A-96821EC8BD4E}"/>
          </ac:spMkLst>
        </pc:spChg>
        <pc:spChg chg="add mod">
          <ac:chgData name="Engel, Troy [JJCUS NON-J&amp;J]" userId="eab39b0b-0874-4185-ab60-88940d3b579c" providerId="ADAL" clId="{78728C2F-A187-4622-BD57-268CCEBEC62C}" dt="2024-03-01T20:16:18.959" v="3846" actId="1038"/>
          <ac:spMkLst>
            <pc:docMk/>
            <pc:sldMk cId="3756042340" sldId="2147478925"/>
            <ac:spMk id="7" creationId="{4DA23130-E58E-7593-0ECF-9DF1A3702F44}"/>
          </ac:spMkLst>
        </pc:spChg>
        <pc:spChg chg="add del">
          <ac:chgData name="Engel, Troy [JJCUS NON-J&amp;J]" userId="eab39b0b-0874-4185-ab60-88940d3b579c" providerId="ADAL" clId="{78728C2F-A187-4622-BD57-268CCEBEC62C}" dt="2024-03-04T14:48:00.711" v="4009" actId="22"/>
          <ac:spMkLst>
            <pc:docMk/>
            <pc:sldMk cId="3756042340" sldId="2147478925"/>
            <ac:spMk id="9" creationId="{F8E15ED1-66A4-74E6-8F56-5AF6A02EE4EE}"/>
          </ac:spMkLst>
        </pc:spChg>
        <pc:spChg chg="del">
          <ac:chgData name="Engel, Troy [JJCUS NON-J&amp;J]" userId="eab39b0b-0874-4185-ab60-88940d3b579c" providerId="ADAL" clId="{78728C2F-A187-4622-BD57-268CCEBEC62C}" dt="2024-03-01T00:20:45.109" v="878" actId="478"/>
          <ac:spMkLst>
            <pc:docMk/>
            <pc:sldMk cId="3756042340" sldId="2147478925"/>
            <ac:spMk id="15" creationId="{650EE499-737E-8357-5185-FEB50B530DB5}"/>
          </ac:spMkLst>
        </pc:spChg>
        <pc:picChg chg="add mod">
          <ac:chgData name="Engel, Troy [JJCUS NON-J&amp;J]" userId="eab39b0b-0874-4185-ab60-88940d3b579c" providerId="ADAL" clId="{78728C2F-A187-4622-BD57-268CCEBEC62C}" dt="2024-03-01T21:11:05.016" v="3900" actId="1038"/>
          <ac:picMkLst>
            <pc:docMk/>
            <pc:sldMk cId="3756042340" sldId="2147478925"/>
            <ac:picMk id="3" creationId="{3EA18652-1838-5491-1BEC-F0B50B77FBA6}"/>
          </ac:picMkLst>
        </pc:picChg>
      </pc:sldChg>
      <pc:sldChg chg="addSp delSp modSp add mod ord">
        <pc:chgData name="Engel, Troy [JJCUS NON-J&amp;J]" userId="eab39b0b-0874-4185-ab60-88940d3b579c" providerId="ADAL" clId="{78728C2F-A187-4622-BD57-268CCEBEC62C}" dt="2024-03-01T01:32:42.498" v="1832" actId="20577"/>
        <pc:sldMkLst>
          <pc:docMk/>
          <pc:sldMk cId="1990109457" sldId="2147478926"/>
        </pc:sldMkLst>
        <pc:spChg chg="mod">
          <ac:chgData name="Engel, Troy [JJCUS NON-J&amp;J]" userId="eab39b0b-0874-4185-ab60-88940d3b579c" providerId="ADAL" clId="{78728C2F-A187-4622-BD57-268CCEBEC62C}" dt="2024-03-01T01:31:37.701" v="1824" actId="20577"/>
          <ac:spMkLst>
            <pc:docMk/>
            <pc:sldMk cId="1990109457" sldId="2147478926"/>
            <ac:spMk id="3" creationId="{4C436FFB-FFA4-A69E-6B51-2E7E43959FAF}"/>
          </ac:spMkLst>
        </pc:spChg>
        <pc:spChg chg="del">
          <ac:chgData name="Engel, Troy [JJCUS NON-J&amp;J]" userId="eab39b0b-0874-4185-ab60-88940d3b579c" providerId="ADAL" clId="{78728C2F-A187-4622-BD57-268CCEBEC62C}" dt="2024-03-01T01:01:16.757" v="1497" actId="478"/>
          <ac:spMkLst>
            <pc:docMk/>
            <pc:sldMk cId="1990109457" sldId="2147478926"/>
            <ac:spMk id="5" creationId="{1F1ECD6E-783A-6F76-B0DD-98D252E6BAA3}"/>
          </ac:spMkLst>
        </pc:spChg>
        <pc:spChg chg="mod">
          <ac:chgData name="Engel, Troy [JJCUS NON-J&amp;J]" userId="eab39b0b-0874-4185-ab60-88940d3b579c" providerId="ADAL" clId="{78728C2F-A187-4622-BD57-268CCEBEC62C}" dt="2024-03-01T01:32:42.498" v="1832" actId="20577"/>
          <ac:spMkLst>
            <pc:docMk/>
            <pc:sldMk cId="1990109457" sldId="2147478926"/>
            <ac:spMk id="16" creationId="{086BF6F6-9F6A-E6A3-B226-2D66064B14D2}"/>
          </ac:spMkLst>
        </pc:spChg>
        <pc:graphicFrameChg chg="del">
          <ac:chgData name="Engel, Troy [JJCUS NON-J&amp;J]" userId="eab39b0b-0874-4185-ab60-88940d3b579c" providerId="ADAL" clId="{78728C2F-A187-4622-BD57-268CCEBEC62C}" dt="2024-03-01T01:06:58.696" v="1558" actId="478"/>
          <ac:graphicFrameMkLst>
            <pc:docMk/>
            <pc:sldMk cId="1990109457" sldId="2147478926"/>
            <ac:graphicFrameMk id="50" creationId="{D9C218CC-815B-D590-0C27-E1A3B0371EB8}"/>
          </ac:graphicFrameMkLst>
        </pc:graphicFrameChg>
        <pc:picChg chg="del">
          <ac:chgData name="Engel, Troy [JJCUS NON-J&amp;J]" userId="eab39b0b-0874-4185-ab60-88940d3b579c" providerId="ADAL" clId="{78728C2F-A187-4622-BD57-268CCEBEC62C}" dt="2024-03-01T00:55:33.866" v="1459" actId="478"/>
          <ac:picMkLst>
            <pc:docMk/>
            <pc:sldMk cId="1990109457" sldId="2147478926"/>
            <ac:picMk id="7" creationId="{C5DACF51-AB58-58C2-3742-05436E6B8FDB}"/>
          </ac:picMkLst>
        </pc:picChg>
        <pc:picChg chg="add del mod">
          <ac:chgData name="Engel, Troy [JJCUS NON-J&amp;J]" userId="eab39b0b-0874-4185-ab60-88940d3b579c" providerId="ADAL" clId="{78728C2F-A187-4622-BD57-268CCEBEC62C}" dt="2024-03-01T01:22:32.388" v="1804" actId="478"/>
          <ac:picMkLst>
            <pc:docMk/>
            <pc:sldMk cId="1990109457" sldId="2147478926"/>
            <ac:picMk id="8" creationId="{A8379A4A-E30F-8181-6D67-38A03AF72604}"/>
          </ac:picMkLst>
        </pc:picChg>
        <pc:picChg chg="del">
          <ac:chgData name="Engel, Troy [JJCUS NON-J&amp;J]" userId="eab39b0b-0874-4185-ab60-88940d3b579c" providerId="ADAL" clId="{78728C2F-A187-4622-BD57-268CCEBEC62C}" dt="2024-03-01T00:55:33.866" v="1459" actId="478"/>
          <ac:picMkLst>
            <pc:docMk/>
            <pc:sldMk cId="1990109457" sldId="2147478926"/>
            <ac:picMk id="9" creationId="{32848787-AC5E-560D-866E-0D06271FA15A}"/>
          </ac:picMkLst>
        </pc:picChg>
        <pc:picChg chg="add del mod">
          <ac:chgData name="Engel, Troy [JJCUS NON-J&amp;J]" userId="eab39b0b-0874-4185-ab60-88940d3b579c" providerId="ADAL" clId="{78728C2F-A187-4622-BD57-268CCEBEC62C}" dt="2024-03-01T01:22:32.388" v="1804" actId="478"/>
          <ac:picMkLst>
            <pc:docMk/>
            <pc:sldMk cId="1990109457" sldId="2147478926"/>
            <ac:picMk id="13" creationId="{8063CC53-EC1A-051F-6113-744C19179861}"/>
          </ac:picMkLst>
        </pc:picChg>
        <pc:picChg chg="add del mod">
          <ac:chgData name="Engel, Troy [JJCUS NON-J&amp;J]" userId="eab39b0b-0874-4185-ab60-88940d3b579c" providerId="ADAL" clId="{78728C2F-A187-4622-BD57-268CCEBEC62C}" dt="2024-03-01T01:22:32.388" v="1804" actId="478"/>
          <ac:picMkLst>
            <pc:docMk/>
            <pc:sldMk cId="1990109457" sldId="2147478926"/>
            <ac:picMk id="17" creationId="{4F328991-CEED-F89F-581A-BFFB1C28DD31}"/>
          </ac:picMkLst>
        </pc:picChg>
        <pc:picChg chg="del">
          <ac:chgData name="Engel, Troy [JJCUS NON-J&amp;J]" userId="eab39b0b-0874-4185-ab60-88940d3b579c" providerId="ADAL" clId="{78728C2F-A187-4622-BD57-268CCEBEC62C}" dt="2024-03-01T01:04:54.149" v="1551" actId="478"/>
          <ac:picMkLst>
            <pc:docMk/>
            <pc:sldMk cId="1990109457" sldId="2147478926"/>
            <ac:picMk id="19" creationId="{73F25072-2F58-4E4A-0AD7-0562B9DA8AA8}"/>
          </ac:picMkLst>
        </pc:picChg>
        <pc:picChg chg="add del mod">
          <ac:chgData name="Engel, Troy [JJCUS NON-J&amp;J]" userId="eab39b0b-0874-4185-ab60-88940d3b579c" providerId="ADAL" clId="{78728C2F-A187-4622-BD57-268CCEBEC62C}" dt="2024-03-01T01:01:58.976" v="1501" actId="478"/>
          <ac:picMkLst>
            <pc:docMk/>
            <pc:sldMk cId="1990109457" sldId="2147478926"/>
            <ac:picMk id="20" creationId="{ADD5E306-F8EF-BF85-EBB3-948D6BEB1103}"/>
          </ac:picMkLst>
        </pc:picChg>
        <pc:picChg chg="add del mod">
          <ac:chgData name="Engel, Troy [JJCUS NON-J&amp;J]" userId="eab39b0b-0874-4185-ab60-88940d3b579c" providerId="ADAL" clId="{78728C2F-A187-4622-BD57-268CCEBEC62C}" dt="2024-03-01T01:22:32.388" v="1804" actId="478"/>
          <ac:picMkLst>
            <pc:docMk/>
            <pc:sldMk cId="1990109457" sldId="2147478926"/>
            <ac:picMk id="22" creationId="{9422EEF5-F275-F5BF-F876-3D260FDEEB9A}"/>
          </ac:picMkLst>
        </pc:picChg>
        <pc:picChg chg="add del mod">
          <ac:chgData name="Engel, Troy [JJCUS NON-J&amp;J]" userId="eab39b0b-0874-4185-ab60-88940d3b579c" providerId="ADAL" clId="{78728C2F-A187-4622-BD57-268CCEBEC62C}" dt="2024-03-01T01:06:21.383" v="1555" actId="478"/>
          <ac:picMkLst>
            <pc:docMk/>
            <pc:sldMk cId="1990109457" sldId="2147478926"/>
            <ac:picMk id="24" creationId="{99274A35-F074-84E0-3E7D-F3E038DB57B7}"/>
          </ac:picMkLst>
        </pc:picChg>
        <pc:picChg chg="add del">
          <ac:chgData name="Engel, Troy [JJCUS NON-J&amp;J]" userId="eab39b0b-0874-4185-ab60-88940d3b579c" providerId="ADAL" clId="{78728C2F-A187-4622-BD57-268CCEBEC62C}" dt="2024-03-01T01:06:51.868" v="1557" actId="22"/>
          <ac:picMkLst>
            <pc:docMk/>
            <pc:sldMk cId="1990109457" sldId="2147478926"/>
            <ac:picMk id="26" creationId="{4930A24B-E093-B5BF-99A6-BB8E3CD60512}"/>
          </ac:picMkLst>
        </pc:picChg>
        <pc:picChg chg="add del mod">
          <ac:chgData name="Engel, Troy [JJCUS NON-J&amp;J]" userId="eab39b0b-0874-4185-ab60-88940d3b579c" providerId="ADAL" clId="{78728C2F-A187-4622-BD57-268CCEBEC62C}" dt="2024-03-01T01:22:40.558" v="1805" actId="478"/>
          <ac:picMkLst>
            <pc:docMk/>
            <pc:sldMk cId="1990109457" sldId="2147478926"/>
            <ac:picMk id="28" creationId="{25F6A344-A793-AEAD-968B-BF60BC94ED4E}"/>
          </ac:picMkLst>
        </pc:picChg>
        <pc:picChg chg="add del mod">
          <ac:chgData name="Engel, Troy [JJCUS NON-J&amp;J]" userId="eab39b0b-0874-4185-ab60-88940d3b579c" providerId="ADAL" clId="{78728C2F-A187-4622-BD57-268CCEBEC62C}" dt="2024-03-01T01:22:40.558" v="1805" actId="478"/>
          <ac:picMkLst>
            <pc:docMk/>
            <pc:sldMk cId="1990109457" sldId="2147478926"/>
            <ac:picMk id="30" creationId="{ACE1E37A-AC55-6F24-1EA4-20E9FE158666}"/>
          </ac:picMkLst>
        </pc:picChg>
        <pc:picChg chg="add del mod">
          <ac:chgData name="Engel, Troy [JJCUS NON-J&amp;J]" userId="eab39b0b-0874-4185-ab60-88940d3b579c" providerId="ADAL" clId="{78728C2F-A187-4622-BD57-268CCEBEC62C}" dt="2024-03-01T01:22:40.558" v="1805" actId="478"/>
          <ac:picMkLst>
            <pc:docMk/>
            <pc:sldMk cId="1990109457" sldId="2147478926"/>
            <ac:picMk id="32" creationId="{F8C009F9-6A14-0D4E-3154-9F59E785A3CF}"/>
          </ac:picMkLst>
        </pc:picChg>
        <pc:picChg chg="add del mod">
          <ac:chgData name="Engel, Troy [JJCUS NON-J&amp;J]" userId="eab39b0b-0874-4185-ab60-88940d3b579c" providerId="ADAL" clId="{78728C2F-A187-4622-BD57-268CCEBEC62C}" dt="2024-03-01T01:22:40.558" v="1805" actId="478"/>
          <ac:picMkLst>
            <pc:docMk/>
            <pc:sldMk cId="1990109457" sldId="2147478926"/>
            <ac:picMk id="34" creationId="{BBAA5134-14FE-90F8-AEE4-E438AF9ED26D}"/>
          </ac:picMkLst>
        </pc:picChg>
        <pc:picChg chg="add del mod">
          <ac:chgData name="Engel, Troy [JJCUS NON-J&amp;J]" userId="eab39b0b-0874-4185-ab60-88940d3b579c" providerId="ADAL" clId="{78728C2F-A187-4622-BD57-268CCEBEC62C}" dt="2024-03-01T01:22:40.558" v="1805" actId="478"/>
          <ac:picMkLst>
            <pc:docMk/>
            <pc:sldMk cId="1990109457" sldId="2147478926"/>
            <ac:picMk id="36" creationId="{3A514990-E2BB-4B76-5D62-15ABBDEADA1B}"/>
          </ac:picMkLst>
        </pc:picChg>
        <pc:picChg chg="add mod">
          <ac:chgData name="Engel, Troy [JJCUS NON-J&amp;J]" userId="eab39b0b-0874-4185-ab60-88940d3b579c" providerId="ADAL" clId="{78728C2F-A187-4622-BD57-268CCEBEC62C}" dt="2024-03-01T01:27:51.669" v="1813" actId="1076"/>
          <ac:picMkLst>
            <pc:docMk/>
            <pc:sldMk cId="1990109457" sldId="2147478926"/>
            <ac:picMk id="38" creationId="{2265B63D-C2EE-3430-2623-0483C59DC007}"/>
          </ac:picMkLst>
        </pc:picChg>
        <pc:picChg chg="add mod">
          <ac:chgData name="Engel, Troy [JJCUS NON-J&amp;J]" userId="eab39b0b-0874-4185-ab60-88940d3b579c" providerId="ADAL" clId="{78728C2F-A187-4622-BD57-268CCEBEC62C}" dt="2024-03-01T01:30:10.747" v="1815" actId="1076"/>
          <ac:picMkLst>
            <pc:docMk/>
            <pc:sldMk cId="1990109457" sldId="2147478926"/>
            <ac:picMk id="40" creationId="{C7957DCC-7341-FD76-D9E9-13463E674A8C}"/>
          </ac:picMkLst>
        </pc:picChg>
      </pc:sldChg>
      <pc:sldChg chg="modSp add mod">
        <pc:chgData name="Engel, Troy [JJCUS NON-J&amp;J]" userId="eab39b0b-0874-4185-ab60-88940d3b579c" providerId="ADAL" clId="{78728C2F-A187-4622-BD57-268CCEBEC62C}" dt="2024-03-01T14:33:59.704" v="3517" actId="313"/>
        <pc:sldMkLst>
          <pc:docMk/>
          <pc:sldMk cId="525180892" sldId="2147478927"/>
        </pc:sldMkLst>
        <pc:spChg chg="mod">
          <ac:chgData name="Engel, Troy [JJCUS NON-J&amp;J]" userId="eab39b0b-0874-4185-ab60-88940d3b579c" providerId="ADAL" clId="{78728C2F-A187-4622-BD57-268CCEBEC62C}" dt="2024-03-01T14:33:59.704" v="3517" actId="313"/>
          <ac:spMkLst>
            <pc:docMk/>
            <pc:sldMk cId="525180892" sldId="2147478927"/>
            <ac:spMk id="16" creationId="{3876A0AC-1251-C825-8747-9B54661A887A}"/>
          </ac:spMkLst>
        </pc:spChg>
      </pc:sldChg>
      <pc:sldChg chg="add del">
        <pc:chgData name="Engel, Troy [JJCUS NON-J&amp;J]" userId="eab39b0b-0874-4185-ab60-88940d3b579c" providerId="ADAL" clId="{78728C2F-A187-4622-BD57-268CCEBEC62C}" dt="2024-02-29T23:41:20.227" v="201" actId="2696"/>
        <pc:sldMkLst>
          <pc:docMk/>
          <pc:sldMk cId="1565214553" sldId="2147478928"/>
        </pc:sldMkLst>
      </pc:sldChg>
      <pc:sldChg chg="addSp delSp modSp add mod">
        <pc:chgData name="Engel, Troy [JJCUS NON-J&amp;J]" userId="eab39b0b-0874-4185-ab60-88940d3b579c" providerId="ADAL" clId="{78728C2F-A187-4622-BD57-268CCEBEC62C}" dt="2024-03-01T02:27:34.289" v="2578" actId="20577"/>
        <pc:sldMkLst>
          <pc:docMk/>
          <pc:sldMk cId="2661920015" sldId="2147478928"/>
        </pc:sldMkLst>
        <pc:spChg chg="mod">
          <ac:chgData name="Engel, Troy [JJCUS NON-J&amp;J]" userId="eab39b0b-0874-4185-ab60-88940d3b579c" providerId="ADAL" clId="{78728C2F-A187-4622-BD57-268CCEBEC62C}" dt="2024-03-01T01:37:46.014" v="2007" actId="313"/>
          <ac:spMkLst>
            <pc:docMk/>
            <pc:sldMk cId="2661920015" sldId="2147478928"/>
            <ac:spMk id="3" creationId="{FF1C349A-C327-546F-C007-0099CA07D1B3}"/>
          </ac:spMkLst>
        </pc:spChg>
        <pc:spChg chg="mod">
          <ac:chgData name="Engel, Troy [JJCUS NON-J&amp;J]" userId="eab39b0b-0874-4185-ab60-88940d3b579c" providerId="ADAL" clId="{78728C2F-A187-4622-BD57-268CCEBEC62C}" dt="2024-03-01T02:27:34.289" v="2578" actId="20577"/>
          <ac:spMkLst>
            <pc:docMk/>
            <pc:sldMk cId="2661920015" sldId="2147478928"/>
            <ac:spMk id="16" creationId="{608D5F0C-D165-318A-8793-55D5B40A1939}"/>
          </ac:spMkLst>
        </pc:spChg>
        <pc:picChg chg="add del mod">
          <ac:chgData name="Engel, Troy [JJCUS NON-J&amp;J]" userId="eab39b0b-0874-4185-ab60-88940d3b579c" providerId="ADAL" clId="{78728C2F-A187-4622-BD57-268CCEBEC62C}" dt="2024-03-01T01:39:34.265" v="2012" actId="478"/>
          <ac:picMkLst>
            <pc:docMk/>
            <pc:sldMk cId="2661920015" sldId="2147478928"/>
            <ac:picMk id="6" creationId="{DA507D09-763C-3BC4-FC44-4C866CC57A1E}"/>
          </ac:picMkLst>
        </pc:picChg>
        <pc:picChg chg="add mod modCrop">
          <ac:chgData name="Engel, Troy [JJCUS NON-J&amp;J]" userId="eab39b0b-0874-4185-ab60-88940d3b579c" providerId="ADAL" clId="{78728C2F-A187-4622-BD57-268CCEBEC62C}" dt="2024-03-01T01:40:16.890" v="2022" actId="1076"/>
          <ac:picMkLst>
            <pc:docMk/>
            <pc:sldMk cId="2661920015" sldId="2147478928"/>
            <ac:picMk id="8" creationId="{8049E433-E1D2-D608-3F0F-121B1D31882B}"/>
          </ac:picMkLst>
        </pc:picChg>
        <pc:picChg chg="add mod">
          <ac:chgData name="Engel, Troy [JJCUS NON-J&amp;J]" userId="eab39b0b-0874-4185-ab60-88940d3b579c" providerId="ADAL" clId="{78728C2F-A187-4622-BD57-268CCEBEC62C}" dt="2024-03-01T01:45:19.645" v="2188" actId="1076"/>
          <ac:picMkLst>
            <pc:docMk/>
            <pc:sldMk cId="2661920015" sldId="2147478928"/>
            <ac:picMk id="10" creationId="{F1284C0D-B79D-1D9A-50B7-FBC7E59E27CB}"/>
          </ac:picMkLst>
        </pc:picChg>
        <pc:picChg chg="del">
          <ac:chgData name="Engel, Troy [JJCUS NON-J&amp;J]" userId="eab39b0b-0874-4185-ab60-88940d3b579c" providerId="ADAL" clId="{78728C2F-A187-4622-BD57-268CCEBEC62C}" dt="2024-03-01T01:38:47.671" v="2008" actId="478"/>
          <ac:picMkLst>
            <pc:docMk/>
            <pc:sldMk cId="2661920015" sldId="2147478928"/>
            <ac:picMk id="38" creationId="{BAEB556C-C84E-1A15-7C6E-83936CB8CB84}"/>
          </ac:picMkLst>
        </pc:picChg>
        <pc:picChg chg="del">
          <ac:chgData name="Engel, Troy [JJCUS NON-J&amp;J]" userId="eab39b0b-0874-4185-ab60-88940d3b579c" providerId="ADAL" clId="{78728C2F-A187-4622-BD57-268CCEBEC62C}" dt="2024-03-01T01:40:20.702" v="2023" actId="478"/>
          <ac:picMkLst>
            <pc:docMk/>
            <pc:sldMk cId="2661920015" sldId="2147478928"/>
            <ac:picMk id="40" creationId="{7AF11C19-A879-5AA1-C53E-B0004B24E1F0}"/>
          </ac:picMkLst>
        </pc:picChg>
      </pc:sldChg>
      <pc:sldChg chg="del">
        <pc:chgData name="Engel, Troy [JJCUS NON-J&amp;J]" userId="eab39b0b-0874-4185-ab60-88940d3b579c" providerId="ADAL" clId="{78728C2F-A187-4622-BD57-268CCEBEC62C}" dt="2024-03-01T00:22:17.297" v="901" actId="47"/>
        <pc:sldMkLst>
          <pc:docMk/>
          <pc:sldMk cId="4038562071" sldId="2147478928"/>
        </pc:sldMkLst>
      </pc:sldChg>
      <pc:sldChg chg="addSp delSp modSp add mod">
        <pc:chgData name="Engel, Troy [JJCUS NON-J&amp;J]" userId="eab39b0b-0874-4185-ab60-88940d3b579c" providerId="ADAL" clId="{78728C2F-A187-4622-BD57-268CCEBEC62C}" dt="2024-03-01T14:25:28.561" v="3285" actId="20577"/>
        <pc:sldMkLst>
          <pc:docMk/>
          <pc:sldMk cId="2260141243" sldId="2147478929"/>
        </pc:sldMkLst>
        <pc:spChg chg="mod">
          <ac:chgData name="Engel, Troy [JJCUS NON-J&amp;J]" userId="eab39b0b-0874-4185-ab60-88940d3b579c" providerId="ADAL" clId="{78728C2F-A187-4622-BD57-268CCEBEC62C}" dt="2024-03-01T14:25:28.561" v="3285" actId="20577"/>
          <ac:spMkLst>
            <pc:docMk/>
            <pc:sldMk cId="2260141243" sldId="2147478929"/>
            <ac:spMk id="4" creationId="{2648D202-E2DD-5E01-DF81-2F35833F91CF}"/>
          </ac:spMkLst>
        </pc:spChg>
        <pc:picChg chg="del">
          <ac:chgData name="Engel, Troy [JJCUS NON-J&amp;J]" userId="eab39b0b-0874-4185-ab60-88940d3b579c" providerId="ADAL" clId="{78728C2F-A187-4622-BD57-268CCEBEC62C}" dt="2024-03-01T02:01:06.659" v="2370" actId="478"/>
          <ac:picMkLst>
            <pc:docMk/>
            <pc:sldMk cId="2260141243" sldId="2147478929"/>
            <ac:picMk id="3" creationId="{E49EC56C-3B05-92ED-D724-95012C0735A8}"/>
          </ac:picMkLst>
        </pc:picChg>
        <pc:picChg chg="add mod">
          <ac:chgData name="Engel, Troy [JJCUS NON-J&amp;J]" userId="eab39b0b-0874-4185-ab60-88940d3b579c" providerId="ADAL" clId="{78728C2F-A187-4622-BD57-268CCEBEC62C}" dt="2024-03-01T02:02:55.910" v="2383" actId="1076"/>
          <ac:picMkLst>
            <pc:docMk/>
            <pc:sldMk cId="2260141243" sldId="2147478929"/>
            <ac:picMk id="6" creationId="{E336F752-A38D-1A9A-971A-7DDB68287A71}"/>
          </ac:picMkLst>
        </pc:picChg>
      </pc:sldChg>
      <pc:sldChg chg="delSp modSp add del mod">
        <pc:chgData name="Engel, Troy [JJCUS NON-J&amp;J]" userId="eab39b0b-0874-4185-ab60-88940d3b579c" providerId="ADAL" clId="{78728C2F-A187-4622-BD57-268CCEBEC62C}" dt="2024-03-01T02:00:53.487" v="2368" actId="2696"/>
        <pc:sldMkLst>
          <pc:docMk/>
          <pc:sldMk cId="2985730647" sldId="2147478929"/>
        </pc:sldMkLst>
        <pc:spChg chg="mod">
          <ac:chgData name="Engel, Troy [JJCUS NON-J&amp;J]" userId="eab39b0b-0874-4185-ab60-88940d3b579c" providerId="ADAL" clId="{78728C2F-A187-4622-BD57-268CCEBEC62C}" dt="2024-03-01T02:00:36.131" v="2367" actId="20577"/>
          <ac:spMkLst>
            <pc:docMk/>
            <pc:sldMk cId="2985730647" sldId="2147478929"/>
            <ac:spMk id="4" creationId="{2736F148-3218-54A5-2539-BE2E67C45563}"/>
          </ac:spMkLst>
        </pc:spChg>
        <pc:picChg chg="del">
          <ac:chgData name="Engel, Troy [JJCUS NON-J&amp;J]" userId="eab39b0b-0874-4185-ab60-88940d3b579c" providerId="ADAL" clId="{78728C2F-A187-4622-BD57-268CCEBEC62C}" dt="2024-03-01T02:00:03.722" v="2359" actId="478"/>
          <ac:picMkLst>
            <pc:docMk/>
            <pc:sldMk cId="2985730647" sldId="2147478929"/>
            <ac:picMk id="3" creationId="{983C7F24-1715-C916-4116-5095D939BCEA}"/>
          </ac:picMkLst>
        </pc:picChg>
      </pc:sldChg>
      <pc:sldChg chg="addSp delSp modSp add mod ord">
        <pc:chgData name="Engel, Troy [JJCUS NON-J&amp;J]" userId="eab39b0b-0874-4185-ab60-88940d3b579c" providerId="ADAL" clId="{78728C2F-A187-4622-BD57-268CCEBEC62C}" dt="2024-03-01T20:18:00.818" v="3859" actId="14100"/>
        <pc:sldMkLst>
          <pc:docMk/>
          <pc:sldMk cId="145300885" sldId="2147478930"/>
        </pc:sldMkLst>
        <pc:spChg chg="mod">
          <ac:chgData name="Engel, Troy [JJCUS NON-J&amp;J]" userId="eab39b0b-0874-4185-ab60-88940d3b579c" providerId="ADAL" clId="{78728C2F-A187-4622-BD57-268CCEBEC62C}" dt="2024-03-01T14:25:54.999" v="3297" actId="20577"/>
          <ac:spMkLst>
            <pc:docMk/>
            <pc:sldMk cId="145300885" sldId="2147478930"/>
            <ac:spMk id="4" creationId="{17D9436F-3CA4-5051-BCB7-0450EDE71BB7}"/>
          </ac:spMkLst>
        </pc:spChg>
        <pc:picChg chg="del">
          <ac:chgData name="Engel, Troy [JJCUS NON-J&amp;J]" userId="eab39b0b-0874-4185-ab60-88940d3b579c" providerId="ADAL" clId="{78728C2F-A187-4622-BD57-268CCEBEC62C}" dt="2024-03-01T02:03:20.675" v="2387" actId="478"/>
          <ac:picMkLst>
            <pc:docMk/>
            <pc:sldMk cId="145300885" sldId="2147478930"/>
            <ac:picMk id="3" creationId="{2AAD144B-93EC-6285-5A88-217946CEF414}"/>
          </ac:picMkLst>
        </pc:picChg>
        <pc:picChg chg="add mod">
          <ac:chgData name="Engel, Troy [JJCUS NON-J&amp;J]" userId="eab39b0b-0874-4185-ab60-88940d3b579c" providerId="ADAL" clId="{78728C2F-A187-4622-BD57-268CCEBEC62C}" dt="2024-03-01T20:18:00.818" v="3859" actId="14100"/>
          <ac:picMkLst>
            <pc:docMk/>
            <pc:sldMk cId="145300885" sldId="2147478930"/>
            <ac:picMk id="6" creationId="{7FD5DB6E-FE49-021F-2360-BFDE369164A7}"/>
          </ac:picMkLst>
        </pc:picChg>
      </pc:sldChg>
      <pc:sldChg chg="addSp delSp modSp add mod">
        <pc:chgData name="Engel, Troy [JJCUS NON-J&amp;J]" userId="eab39b0b-0874-4185-ab60-88940d3b579c" providerId="ADAL" clId="{78728C2F-A187-4622-BD57-268CCEBEC62C}" dt="2024-03-01T14:26:33.796" v="3323" actId="20577"/>
        <pc:sldMkLst>
          <pc:docMk/>
          <pc:sldMk cId="352649352" sldId="2147478931"/>
        </pc:sldMkLst>
        <pc:spChg chg="mod">
          <ac:chgData name="Engel, Troy [JJCUS NON-J&amp;J]" userId="eab39b0b-0874-4185-ab60-88940d3b579c" providerId="ADAL" clId="{78728C2F-A187-4622-BD57-268CCEBEC62C}" dt="2024-03-01T14:26:15.749" v="3298" actId="14100"/>
          <ac:spMkLst>
            <pc:docMk/>
            <pc:sldMk cId="352649352" sldId="2147478931"/>
            <ac:spMk id="2" creationId="{B7F451E5-209B-5CE4-7B9F-DD51FF6B34BB}"/>
          </ac:spMkLst>
        </pc:spChg>
        <pc:spChg chg="mod">
          <ac:chgData name="Engel, Troy [JJCUS NON-J&amp;J]" userId="eab39b0b-0874-4185-ab60-88940d3b579c" providerId="ADAL" clId="{78728C2F-A187-4622-BD57-268CCEBEC62C}" dt="2024-03-01T14:26:33.796" v="3323" actId="20577"/>
          <ac:spMkLst>
            <pc:docMk/>
            <pc:sldMk cId="352649352" sldId="2147478931"/>
            <ac:spMk id="4" creationId="{BB05F25D-3409-4991-E18B-6CAFC7F6AD0E}"/>
          </ac:spMkLst>
        </pc:spChg>
        <pc:picChg chg="add">
          <ac:chgData name="Engel, Troy [JJCUS NON-J&amp;J]" userId="eab39b0b-0874-4185-ab60-88940d3b579c" providerId="ADAL" clId="{78728C2F-A187-4622-BD57-268CCEBEC62C}" dt="2024-03-01T02:05:45.051" v="2394" actId="22"/>
          <ac:picMkLst>
            <pc:docMk/>
            <pc:sldMk cId="352649352" sldId="2147478931"/>
            <ac:picMk id="5" creationId="{F1B70BC2-4A45-F072-1FC4-EAF64310F910}"/>
          </ac:picMkLst>
        </pc:picChg>
        <pc:picChg chg="del">
          <ac:chgData name="Engel, Troy [JJCUS NON-J&amp;J]" userId="eab39b0b-0874-4185-ab60-88940d3b579c" providerId="ADAL" clId="{78728C2F-A187-4622-BD57-268CCEBEC62C}" dt="2024-03-01T02:05:28.176" v="2393" actId="478"/>
          <ac:picMkLst>
            <pc:docMk/>
            <pc:sldMk cId="352649352" sldId="2147478931"/>
            <ac:picMk id="6" creationId="{EDC3FBC5-FEA0-E448-485F-94E31DD5518F}"/>
          </ac:picMkLst>
        </pc:picChg>
      </pc:sldChg>
      <pc:sldChg chg="addSp delSp modSp add mod">
        <pc:chgData name="Engel, Troy [JJCUS NON-J&amp;J]" userId="eab39b0b-0874-4185-ab60-88940d3b579c" providerId="ADAL" clId="{78728C2F-A187-4622-BD57-268CCEBEC62C}" dt="2024-03-01T20:18:45.990" v="3862" actId="1036"/>
        <pc:sldMkLst>
          <pc:docMk/>
          <pc:sldMk cId="2206488252" sldId="2147478932"/>
        </pc:sldMkLst>
        <pc:spChg chg="mod">
          <ac:chgData name="Engel, Troy [JJCUS NON-J&amp;J]" userId="eab39b0b-0874-4185-ab60-88940d3b579c" providerId="ADAL" clId="{78728C2F-A187-4622-BD57-268CCEBEC62C}" dt="2024-03-01T14:27:22.327" v="3344" actId="20577"/>
          <ac:spMkLst>
            <pc:docMk/>
            <pc:sldMk cId="2206488252" sldId="2147478932"/>
            <ac:spMk id="4" creationId="{9EEDE324-3556-BAEB-D5A1-598F882F8056}"/>
          </ac:spMkLst>
        </pc:spChg>
        <pc:picChg chg="del">
          <ac:chgData name="Engel, Troy [JJCUS NON-J&amp;J]" userId="eab39b0b-0874-4185-ab60-88940d3b579c" providerId="ADAL" clId="{78728C2F-A187-4622-BD57-268CCEBEC62C}" dt="2024-03-01T02:06:00.191" v="2396" actId="478"/>
          <ac:picMkLst>
            <pc:docMk/>
            <pc:sldMk cId="2206488252" sldId="2147478932"/>
            <ac:picMk id="5" creationId="{E2C49C13-BB10-0FDF-5C07-AA2438681ACF}"/>
          </ac:picMkLst>
        </pc:picChg>
        <pc:picChg chg="add mod">
          <ac:chgData name="Engel, Troy [JJCUS NON-J&amp;J]" userId="eab39b0b-0874-4185-ab60-88940d3b579c" providerId="ADAL" clId="{78728C2F-A187-4622-BD57-268CCEBEC62C}" dt="2024-03-01T20:18:45.990" v="3862" actId="1036"/>
          <ac:picMkLst>
            <pc:docMk/>
            <pc:sldMk cId="2206488252" sldId="2147478932"/>
            <ac:picMk id="6" creationId="{64EE76D3-17DF-D28C-A45E-D76626E67F91}"/>
          </ac:picMkLst>
        </pc:picChg>
      </pc:sldChg>
      <pc:sldChg chg="addSp delSp modSp add mod">
        <pc:chgData name="Engel, Troy [JJCUS NON-J&amp;J]" userId="eab39b0b-0874-4185-ab60-88940d3b579c" providerId="ADAL" clId="{78728C2F-A187-4622-BD57-268CCEBEC62C}" dt="2024-03-01T20:19:59.741" v="3864" actId="14100"/>
        <pc:sldMkLst>
          <pc:docMk/>
          <pc:sldMk cId="2666382514" sldId="2147478933"/>
        </pc:sldMkLst>
        <pc:spChg chg="mod">
          <ac:chgData name="Engel, Troy [JJCUS NON-J&amp;J]" userId="eab39b0b-0874-4185-ab60-88940d3b579c" providerId="ADAL" clId="{78728C2F-A187-4622-BD57-268CCEBEC62C}" dt="2024-03-01T14:27:44.890" v="3360" actId="20577"/>
          <ac:spMkLst>
            <pc:docMk/>
            <pc:sldMk cId="2666382514" sldId="2147478933"/>
            <ac:spMk id="4" creationId="{D54F4599-00FD-9A9D-B4DC-3FC6133A90F2}"/>
          </ac:spMkLst>
        </pc:spChg>
        <pc:picChg chg="add del">
          <ac:chgData name="Engel, Troy [JJCUS NON-J&amp;J]" userId="eab39b0b-0874-4185-ab60-88940d3b579c" providerId="ADAL" clId="{78728C2F-A187-4622-BD57-268CCEBEC62C}" dt="2024-03-01T02:07:53.598" v="2406" actId="22"/>
          <ac:picMkLst>
            <pc:docMk/>
            <pc:sldMk cId="2666382514" sldId="2147478933"/>
            <ac:picMk id="5" creationId="{029DF3E9-BC5A-BF88-BB99-D17FB3A2F606}"/>
          </ac:picMkLst>
        </pc:picChg>
        <pc:picChg chg="del">
          <ac:chgData name="Engel, Troy [JJCUS NON-J&amp;J]" userId="eab39b0b-0874-4185-ab60-88940d3b579c" providerId="ADAL" clId="{78728C2F-A187-4622-BD57-268CCEBEC62C}" dt="2024-03-01T02:07:49.332" v="2404" actId="478"/>
          <ac:picMkLst>
            <pc:docMk/>
            <pc:sldMk cId="2666382514" sldId="2147478933"/>
            <ac:picMk id="6" creationId="{CB6452EB-E8C7-A498-1238-6DA402111057}"/>
          </ac:picMkLst>
        </pc:picChg>
        <pc:picChg chg="add mod">
          <ac:chgData name="Engel, Troy [JJCUS NON-J&amp;J]" userId="eab39b0b-0874-4185-ab60-88940d3b579c" providerId="ADAL" clId="{78728C2F-A187-4622-BD57-268CCEBEC62C}" dt="2024-03-01T20:19:59.741" v="3864" actId="14100"/>
          <ac:picMkLst>
            <pc:docMk/>
            <pc:sldMk cId="2666382514" sldId="2147478933"/>
            <ac:picMk id="8" creationId="{5CAD127B-62FA-472E-2BDB-8E52B86CD126}"/>
          </ac:picMkLst>
        </pc:picChg>
      </pc:sldChg>
      <pc:sldChg chg="addSp delSp modSp add mod">
        <pc:chgData name="Engel, Troy [JJCUS NON-J&amp;J]" userId="eab39b0b-0874-4185-ab60-88940d3b579c" providerId="ADAL" clId="{78728C2F-A187-4622-BD57-268CCEBEC62C}" dt="2024-03-01T20:20:28.022" v="3867" actId="1076"/>
        <pc:sldMkLst>
          <pc:docMk/>
          <pc:sldMk cId="2297899489" sldId="2147478934"/>
        </pc:sldMkLst>
        <pc:spChg chg="mod">
          <ac:chgData name="Engel, Troy [JJCUS NON-J&amp;J]" userId="eab39b0b-0874-4185-ab60-88940d3b579c" providerId="ADAL" clId="{78728C2F-A187-4622-BD57-268CCEBEC62C}" dt="2024-03-01T14:28:37.937" v="3405" actId="20577"/>
          <ac:spMkLst>
            <pc:docMk/>
            <pc:sldMk cId="2297899489" sldId="2147478934"/>
            <ac:spMk id="4" creationId="{1277080E-A9AA-06F4-CF67-2ED96342282D}"/>
          </ac:spMkLst>
        </pc:spChg>
        <pc:picChg chg="add mod">
          <ac:chgData name="Engel, Troy [JJCUS NON-J&amp;J]" userId="eab39b0b-0874-4185-ab60-88940d3b579c" providerId="ADAL" clId="{78728C2F-A187-4622-BD57-268CCEBEC62C}" dt="2024-03-01T20:20:28.022" v="3867" actId="1076"/>
          <ac:picMkLst>
            <pc:docMk/>
            <pc:sldMk cId="2297899489" sldId="2147478934"/>
            <ac:picMk id="5" creationId="{4B4618AE-A230-FA1E-E70D-C783636D2BD2}"/>
          </ac:picMkLst>
        </pc:picChg>
        <pc:picChg chg="del">
          <ac:chgData name="Engel, Troy [JJCUS NON-J&amp;J]" userId="eab39b0b-0874-4185-ab60-88940d3b579c" providerId="ADAL" clId="{78728C2F-A187-4622-BD57-268CCEBEC62C}" dt="2024-03-01T02:08:32.489" v="2413" actId="478"/>
          <ac:picMkLst>
            <pc:docMk/>
            <pc:sldMk cId="2297899489" sldId="2147478934"/>
            <ac:picMk id="8" creationId="{BD4FE066-E2A5-3E63-5258-14A61C6C6C17}"/>
          </ac:picMkLst>
        </pc:picChg>
      </pc:sldChg>
      <pc:sldChg chg="addSp delSp modSp add mod">
        <pc:chgData name="Engel, Troy [JJCUS NON-J&amp;J]" userId="eab39b0b-0874-4185-ab60-88940d3b579c" providerId="ADAL" clId="{78728C2F-A187-4622-BD57-268CCEBEC62C}" dt="2024-03-01T20:21:18.207" v="3870" actId="1076"/>
        <pc:sldMkLst>
          <pc:docMk/>
          <pc:sldMk cId="1314086140" sldId="2147478935"/>
        </pc:sldMkLst>
        <pc:spChg chg="mod">
          <ac:chgData name="Engel, Troy [JJCUS NON-J&amp;J]" userId="eab39b0b-0874-4185-ab60-88940d3b579c" providerId="ADAL" clId="{78728C2F-A187-4622-BD57-268CCEBEC62C}" dt="2024-03-01T14:29:31.453" v="3432" actId="20577"/>
          <ac:spMkLst>
            <pc:docMk/>
            <pc:sldMk cId="1314086140" sldId="2147478935"/>
            <ac:spMk id="4" creationId="{C108640C-B6A4-48FE-1FA1-7A94FBA3FD64}"/>
          </ac:spMkLst>
        </pc:spChg>
        <pc:picChg chg="del mod">
          <ac:chgData name="Engel, Troy [JJCUS NON-J&amp;J]" userId="eab39b0b-0874-4185-ab60-88940d3b579c" providerId="ADAL" clId="{78728C2F-A187-4622-BD57-268CCEBEC62C}" dt="2024-03-01T02:09:20.145" v="2420" actId="478"/>
          <ac:picMkLst>
            <pc:docMk/>
            <pc:sldMk cId="1314086140" sldId="2147478935"/>
            <ac:picMk id="5" creationId="{25D626F4-9BD3-96F5-E38B-8DABA20DF3DE}"/>
          </ac:picMkLst>
        </pc:picChg>
        <pc:picChg chg="add mod">
          <ac:chgData name="Engel, Troy [JJCUS NON-J&amp;J]" userId="eab39b0b-0874-4185-ab60-88940d3b579c" providerId="ADAL" clId="{78728C2F-A187-4622-BD57-268CCEBEC62C}" dt="2024-03-01T20:21:18.207" v="3870" actId="1076"/>
          <ac:picMkLst>
            <pc:docMk/>
            <pc:sldMk cId="1314086140" sldId="2147478935"/>
            <ac:picMk id="6" creationId="{8B8100A4-8BB7-1C16-DEA1-C03B8572C030}"/>
          </ac:picMkLst>
        </pc:picChg>
      </pc:sldChg>
      <pc:sldChg chg="addSp delSp modSp add mod">
        <pc:chgData name="Engel, Troy [JJCUS NON-J&amp;J]" userId="eab39b0b-0874-4185-ab60-88940d3b579c" providerId="ADAL" clId="{78728C2F-A187-4622-BD57-268CCEBEC62C}" dt="2024-03-01T14:31:00.844" v="3446" actId="20577"/>
        <pc:sldMkLst>
          <pc:docMk/>
          <pc:sldMk cId="2499568197" sldId="2147478936"/>
        </pc:sldMkLst>
        <pc:spChg chg="mod">
          <ac:chgData name="Engel, Troy [JJCUS NON-J&amp;J]" userId="eab39b0b-0874-4185-ab60-88940d3b579c" providerId="ADAL" clId="{78728C2F-A187-4622-BD57-268CCEBEC62C}" dt="2024-03-01T14:31:00.844" v="3446" actId="20577"/>
          <ac:spMkLst>
            <pc:docMk/>
            <pc:sldMk cId="2499568197" sldId="2147478936"/>
            <ac:spMk id="4" creationId="{A8BF9BB0-6C71-80AB-9A2A-34B96B44A3BE}"/>
          </ac:spMkLst>
        </pc:spChg>
        <pc:picChg chg="add mod">
          <ac:chgData name="Engel, Troy [JJCUS NON-J&amp;J]" userId="eab39b0b-0874-4185-ab60-88940d3b579c" providerId="ADAL" clId="{78728C2F-A187-4622-BD57-268CCEBEC62C}" dt="2024-03-01T02:11:00.224" v="2428" actId="1076"/>
          <ac:picMkLst>
            <pc:docMk/>
            <pc:sldMk cId="2499568197" sldId="2147478936"/>
            <ac:picMk id="5" creationId="{A46AF34A-A465-4F56-6D91-E15E34512A1F}"/>
          </ac:picMkLst>
        </pc:picChg>
        <pc:picChg chg="del">
          <ac:chgData name="Engel, Troy [JJCUS NON-J&amp;J]" userId="eab39b0b-0874-4185-ab60-88940d3b579c" providerId="ADAL" clId="{78728C2F-A187-4622-BD57-268CCEBEC62C}" dt="2024-03-01T02:10:30.270" v="2425" actId="478"/>
          <ac:picMkLst>
            <pc:docMk/>
            <pc:sldMk cId="2499568197" sldId="2147478936"/>
            <ac:picMk id="6" creationId="{A2E05D02-9F4C-6A59-4231-023C2968C511}"/>
          </ac:picMkLst>
        </pc:picChg>
      </pc:sldChg>
      <pc:sldChg chg="addSp delSp modSp add mod">
        <pc:chgData name="Engel, Troy [JJCUS NON-J&amp;J]" userId="eab39b0b-0874-4185-ab60-88940d3b579c" providerId="ADAL" clId="{78728C2F-A187-4622-BD57-268CCEBEC62C}" dt="2024-03-01T20:21:53.897" v="3872" actId="1076"/>
        <pc:sldMkLst>
          <pc:docMk/>
          <pc:sldMk cId="4101289293" sldId="2147478937"/>
        </pc:sldMkLst>
        <pc:spChg chg="mod">
          <ac:chgData name="Engel, Troy [JJCUS NON-J&amp;J]" userId="eab39b0b-0874-4185-ab60-88940d3b579c" providerId="ADAL" clId="{78728C2F-A187-4622-BD57-268CCEBEC62C}" dt="2024-03-01T14:33:07.578" v="3516" actId="313"/>
          <ac:spMkLst>
            <pc:docMk/>
            <pc:sldMk cId="4101289293" sldId="2147478937"/>
            <ac:spMk id="4" creationId="{2A9769C5-4A67-8004-0067-757AC0D989FE}"/>
          </ac:spMkLst>
        </pc:spChg>
        <pc:picChg chg="del">
          <ac:chgData name="Engel, Troy [JJCUS NON-J&amp;J]" userId="eab39b0b-0874-4185-ab60-88940d3b579c" providerId="ADAL" clId="{78728C2F-A187-4622-BD57-268CCEBEC62C}" dt="2024-03-01T02:11:11.786" v="2430" actId="478"/>
          <ac:picMkLst>
            <pc:docMk/>
            <pc:sldMk cId="4101289293" sldId="2147478937"/>
            <ac:picMk id="5" creationId="{AD84E289-8E50-0F77-2900-D533A2070532}"/>
          </ac:picMkLst>
        </pc:picChg>
        <pc:picChg chg="add mod">
          <ac:chgData name="Engel, Troy [JJCUS NON-J&amp;J]" userId="eab39b0b-0874-4185-ab60-88940d3b579c" providerId="ADAL" clId="{78728C2F-A187-4622-BD57-268CCEBEC62C}" dt="2024-03-01T20:21:53.897" v="3872" actId="1076"/>
          <ac:picMkLst>
            <pc:docMk/>
            <pc:sldMk cId="4101289293" sldId="2147478937"/>
            <ac:picMk id="6" creationId="{32331E71-A58B-5F31-E424-30FEC552038D}"/>
          </ac:picMkLst>
        </pc:picChg>
      </pc:sldChg>
      <pc:sldChg chg="addSp delSp modSp add mod">
        <pc:chgData name="Engel, Troy [JJCUS NON-J&amp;J]" userId="eab39b0b-0874-4185-ab60-88940d3b579c" providerId="ADAL" clId="{78728C2F-A187-4622-BD57-268CCEBEC62C}" dt="2024-03-01T14:35:31.516" v="3518" actId="197"/>
        <pc:sldMkLst>
          <pc:docMk/>
          <pc:sldMk cId="642511546" sldId="2147478938"/>
        </pc:sldMkLst>
        <pc:spChg chg="mod">
          <ac:chgData name="Engel, Troy [JJCUS NON-J&amp;J]" userId="eab39b0b-0874-4185-ab60-88940d3b579c" providerId="ADAL" clId="{78728C2F-A187-4622-BD57-268CCEBEC62C}" dt="2024-03-01T02:48:14.918" v="2627" actId="20577"/>
          <ac:spMkLst>
            <pc:docMk/>
            <pc:sldMk cId="642511546" sldId="2147478938"/>
            <ac:spMk id="3" creationId="{AFEB77FB-B891-DF4F-7538-10DD64A55C79}"/>
          </ac:spMkLst>
        </pc:spChg>
        <pc:spChg chg="mod">
          <ac:chgData name="Engel, Troy [JJCUS NON-J&amp;J]" userId="eab39b0b-0874-4185-ab60-88940d3b579c" providerId="ADAL" clId="{78728C2F-A187-4622-BD57-268CCEBEC62C}" dt="2024-03-01T02:51:34.434" v="2661" actId="1037"/>
          <ac:spMkLst>
            <pc:docMk/>
            <pc:sldMk cId="642511546" sldId="2147478938"/>
            <ac:spMk id="4" creationId="{D39811B9-FED8-32DA-0CA5-D5A6B3FB5C2F}"/>
          </ac:spMkLst>
        </pc:spChg>
        <pc:spChg chg="mod">
          <ac:chgData name="Engel, Troy [JJCUS NON-J&amp;J]" userId="eab39b0b-0874-4185-ab60-88940d3b579c" providerId="ADAL" clId="{78728C2F-A187-4622-BD57-268CCEBEC62C}" dt="2024-03-01T02:51:50.684" v="2679" actId="1038"/>
          <ac:spMkLst>
            <pc:docMk/>
            <pc:sldMk cId="642511546" sldId="2147478938"/>
            <ac:spMk id="12" creationId="{FE1EB128-3B02-9C76-CB57-D4D49EFE53FC}"/>
          </ac:spMkLst>
        </pc:spChg>
        <pc:spChg chg="mod">
          <ac:chgData name="Engel, Troy [JJCUS NON-J&amp;J]" userId="eab39b0b-0874-4185-ab60-88940d3b579c" providerId="ADAL" clId="{78728C2F-A187-4622-BD57-268CCEBEC62C}" dt="2024-03-01T03:06:37.890" v="2851" actId="1076"/>
          <ac:spMkLst>
            <pc:docMk/>
            <pc:sldMk cId="642511546" sldId="2147478938"/>
            <ac:spMk id="16" creationId="{F2384CFA-1EF6-69D3-DB77-EC3EA7F62813}"/>
          </ac:spMkLst>
        </pc:spChg>
        <pc:picChg chg="add mod">
          <ac:chgData name="Engel, Troy [JJCUS NON-J&amp;J]" userId="eab39b0b-0874-4185-ab60-88940d3b579c" providerId="ADAL" clId="{78728C2F-A187-4622-BD57-268CCEBEC62C}" dt="2024-03-01T02:49:43.418" v="2632" actId="1076"/>
          <ac:picMkLst>
            <pc:docMk/>
            <pc:sldMk cId="642511546" sldId="2147478938"/>
            <ac:picMk id="6" creationId="{4334155E-06E6-E862-1019-D7A8A3FA015F}"/>
          </ac:picMkLst>
        </pc:picChg>
        <pc:picChg chg="del">
          <ac:chgData name="Engel, Troy [JJCUS NON-J&amp;J]" userId="eab39b0b-0874-4185-ab60-88940d3b579c" providerId="ADAL" clId="{78728C2F-A187-4622-BD57-268CCEBEC62C}" dt="2024-03-01T02:48:18.824" v="2628" actId="478"/>
          <ac:picMkLst>
            <pc:docMk/>
            <pc:sldMk cId="642511546" sldId="2147478938"/>
            <ac:picMk id="8" creationId="{4FE43069-126C-D711-374E-DAC0B2C00357}"/>
          </ac:picMkLst>
        </pc:picChg>
        <pc:picChg chg="add mod">
          <ac:chgData name="Engel, Troy [JJCUS NON-J&amp;J]" userId="eab39b0b-0874-4185-ab60-88940d3b579c" providerId="ADAL" clId="{78728C2F-A187-4622-BD57-268CCEBEC62C}" dt="2024-03-01T14:35:31.516" v="3518" actId="197"/>
          <ac:picMkLst>
            <pc:docMk/>
            <pc:sldMk cId="642511546" sldId="2147478938"/>
            <ac:picMk id="9" creationId="{D3637682-588B-3459-E4D5-36C387680E4D}"/>
          </ac:picMkLst>
        </pc:picChg>
        <pc:picChg chg="del">
          <ac:chgData name="Engel, Troy [JJCUS NON-J&amp;J]" userId="eab39b0b-0874-4185-ab60-88940d3b579c" providerId="ADAL" clId="{78728C2F-A187-4622-BD57-268CCEBEC62C}" dt="2024-03-01T02:49:46.655" v="2633" actId="478"/>
          <ac:picMkLst>
            <pc:docMk/>
            <pc:sldMk cId="642511546" sldId="2147478938"/>
            <ac:picMk id="10" creationId="{B34B57AD-7E9A-4DD7-94CB-B583BC7E9051}"/>
          </ac:picMkLst>
        </pc:picChg>
      </pc:sldChg>
      <pc:sldChg chg="addSp delSp modSp add mod">
        <pc:chgData name="Engel, Troy [JJCUS NON-J&amp;J]" userId="eab39b0b-0874-4185-ab60-88940d3b579c" providerId="ADAL" clId="{78728C2F-A187-4622-BD57-268CCEBEC62C}" dt="2024-03-01T02:58:42.139" v="2800" actId="688"/>
        <pc:sldMkLst>
          <pc:docMk/>
          <pc:sldMk cId="2778571632" sldId="2147478939"/>
        </pc:sldMkLst>
        <pc:spChg chg="mod">
          <ac:chgData name="Engel, Troy [JJCUS NON-J&amp;J]" userId="eab39b0b-0874-4185-ab60-88940d3b579c" providerId="ADAL" clId="{78728C2F-A187-4622-BD57-268CCEBEC62C}" dt="2024-03-01T02:54:05.982" v="2772" actId="20577"/>
          <ac:spMkLst>
            <pc:docMk/>
            <pc:sldMk cId="2778571632" sldId="2147478939"/>
            <ac:spMk id="3" creationId="{D4A0F315-D255-EA9A-F61B-B92D241DF6F7}"/>
          </ac:spMkLst>
        </pc:spChg>
        <pc:spChg chg="del mod">
          <ac:chgData name="Engel, Troy [JJCUS NON-J&amp;J]" userId="eab39b0b-0874-4185-ab60-88940d3b579c" providerId="ADAL" clId="{78728C2F-A187-4622-BD57-268CCEBEC62C}" dt="2024-03-01T02:57:59.467" v="2797" actId="478"/>
          <ac:spMkLst>
            <pc:docMk/>
            <pc:sldMk cId="2778571632" sldId="2147478939"/>
            <ac:spMk id="16" creationId="{B5880ABB-5519-3B30-80F0-85A617A89097}"/>
          </ac:spMkLst>
        </pc:spChg>
        <pc:picChg chg="del">
          <ac:chgData name="Engel, Troy [JJCUS NON-J&amp;J]" userId="eab39b0b-0874-4185-ab60-88940d3b579c" providerId="ADAL" clId="{78728C2F-A187-4622-BD57-268CCEBEC62C}" dt="2024-03-01T02:54:10.372" v="2773" actId="478"/>
          <ac:picMkLst>
            <pc:docMk/>
            <pc:sldMk cId="2778571632" sldId="2147478939"/>
            <ac:picMk id="6" creationId="{7B62AE3D-D7D3-B268-B4F8-B33F16CD7AB1}"/>
          </ac:picMkLst>
        </pc:picChg>
        <pc:picChg chg="add del">
          <ac:chgData name="Engel, Troy [JJCUS NON-J&amp;J]" userId="eab39b0b-0874-4185-ab60-88940d3b579c" providerId="ADAL" clId="{78728C2F-A187-4622-BD57-268CCEBEC62C}" dt="2024-03-01T02:54:50.404" v="2775" actId="22"/>
          <ac:picMkLst>
            <pc:docMk/>
            <pc:sldMk cId="2778571632" sldId="2147478939"/>
            <ac:picMk id="7" creationId="{FB9C3801-A981-1699-6872-2CAA589AB79A}"/>
          </ac:picMkLst>
        </pc:picChg>
        <pc:picChg chg="del">
          <ac:chgData name="Engel, Troy [JJCUS NON-J&amp;J]" userId="eab39b0b-0874-4185-ab60-88940d3b579c" providerId="ADAL" clId="{78728C2F-A187-4622-BD57-268CCEBEC62C}" dt="2024-03-01T02:55:11.794" v="2779" actId="478"/>
          <ac:picMkLst>
            <pc:docMk/>
            <pc:sldMk cId="2778571632" sldId="2147478939"/>
            <ac:picMk id="9" creationId="{E5907727-0912-9A7A-0786-0EA1CB9AB467}"/>
          </ac:picMkLst>
        </pc:picChg>
        <pc:picChg chg="add mod">
          <ac:chgData name="Engel, Troy [JJCUS NON-J&amp;J]" userId="eab39b0b-0874-4185-ab60-88940d3b579c" providerId="ADAL" clId="{78728C2F-A187-4622-BD57-268CCEBEC62C}" dt="2024-03-01T02:55:07.811" v="2778" actId="1076"/>
          <ac:picMkLst>
            <pc:docMk/>
            <pc:sldMk cId="2778571632" sldId="2147478939"/>
            <ac:picMk id="10" creationId="{567F0628-F26A-178E-F118-0D22FBF15246}"/>
          </ac:picMkLst>
        </pc:picChg>
        <pc:picChg chg="add mod">
          <ac:chgData name="Engel, Troy [JJCUS NON-J&amp;J]" userId="eab39b0b-0874-4185-ab60-88940d3b579c" providerId="ADAL" clId="{78728C2F-A187-4622-BD57-268CCEBEC62C}" dt="2024-03-01T02:58:42.139" v="2800" actId="688"/>
          <ac:picMkLst>
            <pc:docMk/>
            <pc:sldMk cId="2778571632" sldId="2147478939"/>
            <ac:picMk id="15" creationId="{9EBB2BCE-9BA4-4485-DB26-35ED334F6E10}"/>
          </ac:picMkLst>
        </pc:picChg>
        <pc:picChg chg="add mod">
          <ac:chgData name="Engel, Troy [JJCUS NON-J&amp;J]" userId="eab39b0b-0874-4185-ab60-88940d3b579c" providerId="ADAL" clId="{78728C2F-A187-4622-BD57-268CCEBEC62C}" dt="2024-03-01T02:58:07.264" v="2799" actId="1076"/>
          <ac:picMkLst>
            <pc:docMk/>
            <pc:sldMk cId="2778571632" sldId="2147478939"/>
            <ac:picMk id="18" creationId="{4AE126AB-376D-00C0-670E-9E62E8436529}"/>
          </ac:picMkLst>
        </pc:picChg>
      </pc:sldChg>
      <pc:sldChg chg="addSp delSp modSp add mod">
        <pc:chgData name="Engel, Troy [JJCUS NON-J&amp;J]" userId="eab39b0b-0874-4185-ab60-88940d3b579c" providerId="ADAL" clId="{78728C2F-A187-4622-BD57-268CCEBEC62C}" dt="2024-03-01T14:35:59.907" v="3519" actId="313"/>
        <pc:sldMkLst>
          <pc:docMk/>
          <pc:sldMk cId="1838741235" sldId="2147478940"/>
        </pc:sldMkLst>
        <pc:spChg chg="mod">
          <ac:chgData name="Engel, Troy [JJCUS NON-J&amp;J]" userId="eab39b0b-0874-4185-ab60-88940d3b579c" providerId="ADAL" clId="{78728C2F-A187-4622-BD57-268CCEBEC62C}" dt="2024-03-01T14:35:59.907" v="3519" actId="313"/>
          <ac:spMkLst>
            <pc:docMk/>
            <pc:sldMk cId="1838741235" sldId="2147478940"/>
            <ac:spMk id="3" creationId="{869DB3C4-8406-BCD6-9562-A70E411ED867}"/>
          </ac:spMkLst>
        </pc:spChg>
        <pc:spChg chg="mod">
          <ac:chgData name="Engel, Troy [JJCUS NON-J&amp;J]" userId="eab39b0b-0874-4185-ab60-88940d3b579c" providerId="ADAL" clId="{78728C2F-A187-4622-BD57-268CCEBEC62C}" dt="2024-03-01T03:06:54.640" v="2853" actId="1035"/>
          <ac:spMkLst>
            <pc:docMk/>
            <pc:sldMk cId="1838741235" sldId="2147478940"/>
            <ac:spMk id="4" creationId="{F9D6402E-3871-D1F3-3F95-9D83C83E0B1C}"/>
          </ac:spMkLst>
        </pc:spChg>
        <pc:spChg chg="add del">
          <ac:chgData name="Engel, Troy [JJCUS NON-J&amp;J]" userId="eab39b0b-0874-4185-ab60-88940d3b579c" providerId="ADAL" clId="{78728C2F-A187-4622-BD57-268CCEBEC62C}" dt="2024-03-01T03:06:29.942" v="2850" actId="22"/>
          <ac:spMkLst>
            <pc:docMk/>
            <pc:sldMk cId="1838741235" sldId="2147478940"/>
            <ac:spMk id="13" creationId="{082DD309-8AF4-D275-4521-53151B03FA0D}"/>
          </ac:spMkLst>
        </pc:spChg>
        <pc:spChg chg="add mod">
          <ac:chgData name="Engel, Troy [JJCUS NON-J&amp;J]" userId="eab39b0b-0874-4185-ab60-88940d3b579c" providerId="ADAL" clId="{78728C2F-A187-4622-BD57-268CCEBEC62C}" dt="2024-03-01T03:13:13.266" v="2970" actId="20577"/>
          <ac:spMkLst>
            <pc:docMk/>
            <pc:sldMk cId="1838741235" sldId="2147478940"/>
            <ac:spMk id="16" creationId="{8ABB8109-8F0F-B40B-FFB7-46ECE9DCA6DF}"/>
          </ac:spMkLst>
        </pc:spChg>
        <pc:picChg chg="add mod">
          <ac:chgData name="Engel, Troy [JJCUS NON-J&amp;J]" userId="eab39b0b-0874-4185-ab60-88940d3b579c" providerId="ADAL" clId="{78728C2F-A187-4622-BD57-268CCEBEC62C}" dt="2024-03-01T03:04:50.593" v="2845" actId="1038"/>
          <ac:picMkLst>
            <pc:docMk/>
            <pc:sldMk cId="1838741235" sldId="2147478940"/>
            <ac:picMk id="6" creationId="{361EF988-7268-81CB-0C78-5BE9E4DDB9AE}"/>
          </ac:picMkLst>
        </pc:picChg>
        <pc:picChg chg="add mod">
          <ac:chgData name="Engel, Troy [JJCUS NON-J&amp;J]" userId="eab39b0b-0874-4185-ab60-88940d3b579c" providerId="ADAL" clId="{78728C2F-A187-4622-BD57-268CCEBEC62C}" dt="2024-03-01T03:04:53.937" v="2846" actId="1076"/>
          <ac:picMkLst>
            <pc:docMk/>
            <pc:sldMk cId="1838741235" sldId="2147478940"/>
            <ac:picMk id="8" creationId="{0BD72C4C-A144-8842-5DA3-BCFE1220328D}"/>
          </ac:picMkLst>
        </pc:picChg>
        <pc:picChg chg="del">
          <ac:chgData name="Engel, Troy [JJCUS NON-J&amp;J]" userId="eab39b0b-0874-4185-ab60-88940d3b579c" providerId="ADAL" clId="{78728C2F-A187-4622-BD57-268CCEBEC62C}" dt="2024-03-01T03:02:23.467" v="2817" actId="478"/>
          <ac:picMkLst>
            <pc:docMk/>
            <pc:sldMk cId="1838741235" sldId="2147478940"/>
            <ac:picMk id="10" creationId="{03A244C2-E1EF-A34F-4997-9EA38777623B}"/>
          </ac:picMkLst>
        </pc:picChg>
        <pc:picChg chg="del">
          <ac:chgData name="Engel, Troy [JJCUS NON-J&amp;J]" userId="eab39b0b-0874-4185-ab60-88940d3b579c" providerId="ADAL" clId="{78728C2F-A187-4622-BD57-268CCEBEC62C}" dt="2024-03-01T03:05:13.984" v="2847" actId="478"/>
          <ac:picMkLst>
            <pc:docMk/>
            <pc:sldMk cId="1838741235" sldId="2147478940"/>
            <ac:picMk id="15" creationId="{F1CFD345-2A2C-7E6E-17E7-9DDCE8800CD7}"/>
          </ac:picMkLst>
        </pc:picChg>
        <pc:picChg chg="del">
          <ac:chgData name="Engel, Troy [JJCUS NON-J&amp;J]" userId="eab39b0b-0874-4185-ab60-88940d3b579c" providerId="ADAL" clId="{78728C2F-A187-4622-BD57-268CCEBEC62C}" dt="2024-03-01T03:06:03.687" v="2848" actId="478"/>
          <ac:picMkLst>
            <pc:docMk/>
            <pc:sldMk cId="1838741235" sldId="2147478940"/>
            <ac:picMk id="18" creationId="{20F12A67-C83A-B55A-350D-04073F5FED47}"/>
          </ac:picMkLst>
        </pc:picChg>
        <pc:picChg chg="add mod">
          <ac:chgData name="Engel, Troy [JJCUS NON-J&amp;J]" userId="eab39b0b-0874-4185-ab60-88940d3b579c" providerId="ADAL" clId="{78728C2F-A187-4622-BD57-268CCEBEC62C}" dt="2024-03-01T03:09:25.632" v="2886" actId="1076"/>
          <ac:picMkLst>
            <pc:docMk/>
            <pc:sldMk cId="1838741235" sldId="2147478940"/>
            <ac:picMk id="19" creationId="{B8991F24-D033-49E2-6AAC-E1DC9B0DF687}"/>
          </ac:picMkLst>
        </pc:picChg>
        <pc:picChg chg="add del">
          <ac:chgData name="Engel, Troy [JJCUS NON-J&amp;J]" userId="eab39b0b-0874-4185-ab60-88940d3b579c" providerId="ADAL" clId="{78728C2F-A187-4622-BD57-268CCEBEC62C}" dt="2024-03-01T03:08:41.062" v="2867" actId="22"/>
          <ac:picMkLst>
            <pc:docMk/>
            <pc:sldMk cId="1838741235" sldId="2147478940"/>
            <ac:picMk id="21" creationId="{F7F9EC9B-40B6-908A-F3AB-A4FE1DDBBE4F}"/>
          </ac:picMkLst>
        </pc:picChg>
        <pc:picChg chg="add mod">
          <ac:chgData name="Engel, Troy [JJCUS NON-J&amp;J]" userId="eab39b0b-0874-4185-ab60-88940d3b579c" providerId="ADAL" clId="{78728C2F-A187-4622-BD57-268CCEBEC62C}" dt="2024-03-01T03:10:40.313" v="2894" actId="196"/>
          <ac:picMkLst>
            <pc:docMk/>
            <pc:sldMk cId="1838741235" sldId="2147478940"/>
            <ac:picMk id="23" creationId="{44562F74-D49D-DF7A-77DF-80AA64E7076A}"/>
          </ac:picMkLst>
        </pc:picChg>
      </pc:sldChg>
      <pc:sldChg chg="addSp delSp modSp add mod">
        <pc:chgData name="Engel, Troy [JJCUS NON-J&amp;J]" userId="eab39b0b-0874-4185-ab60-88940d3b579c" providerId="ADAL" clId="{78728C2F-A187-4622-BD57-268CCEBEC62C}" dt="2024-03-01T20:17:09.224" v="3849" actId="1076"/>
        <pc:sldMkLst>
          <pc:docMk/>
          <pc:sldMk cId="371138866" sldId="2147478941"/>
        </pc:sldMkLst>
        <pc:spChg chg="mod">
          <ac:chgData name="Engel, Troy [JJCUS NON-J&amp;J]" userId="eab39b0b-0874-4185-ab60-88940d3b579c" providerId="ADAL" clId="{78728C2F-A187-4622-BD57-268CCEBEC62C}" dt="2024-03-01T13:27:26.628" v="3070" actId="313"/>
          <ac:spMkLst>
            <pc:docMk/>
            <pc:sldMk cId="371138866" sldId="2147478941"/>
            <ac:spMk id="4" creationId="{4E24918E-DC74-5281-402A-FD9A087FC11C}"/>
          </ac:spMkLst>
        </pc:spChg>
        <pc:picChg chg="del">
          <ac:chgData name="Engel, Troy [JJCUS NON-J&amp;J]" userId="eab39b0b-0874-4185-ab60-88940d3b579c" providerId="ADAL" clId="{78728C2F-A187-4622-BD57-268CCEBEC62C}" dt="2024-03-01T13:25:36.065" v="2972" actId="478"/>
          <ac:picMkLst>
            <pc:docMk/>
            <pc:sldMk cId="371138866" sldId="2147478941"/>
            <ac:picMk id="3" creationId="{29A4AA21-5D5A-6C8F-CA88-ACF35C19DC4B}"/>
          </ac:picMkLst>
        </pc:picChg>
        <pc:picChg chg="add mod">
          <ac:chgData name="Engel, Troy [JJCUS NON-J&amp;J]" userId="eab39b0b-0874-4185-ab60-88940d3b579c" providerId="ADAL" clId="{78728C2F-A187-4622-BD57-268CCEBEC62C}" dt="2024-03-01T20:17:09.224" v="3849" actId="1076"/>
          <ac:picMkLst>
            <pc:docMk/>
            <pc:sldMk cId="371138866" sldId="2147478941"/>
            <ac:picMk id="5" creationId="{21F096DF-81E1-980F-96EA-0CC6B4CAFC58}"/>
          </ac:picMkLst>
        </pc:picChg>
      </pc:sldChg>
      <pc:sldChg chg="delSp modSp add mod">
        <pc:chgData name="Engel, Troy [JJCUS NON-J&amp;J]" userId="eab39b0b-0874-4185-ab60-88940d3b579c" providerId="ADAL" clId="{78728C2F-A187-4622-BD57-268CCEBEC62C}" dt="2024-03-01T13:41:03.599" v="3245" actId="1076"/>
        <pc:sldMkLst>
          <pc:docMk/>
          <pc:sldMk cId="458793354" sldId="2147478942"/>
        </pc:sldMkLst>
        <pc:spChg chg="mod">
          <ac:chgData name="Engel, Troy [JJCUS NON-J&amp;J]" userId="eab39b0b-0874-4185-ab60-88940d3b579c" providerId="ADAL" clId="{78728C2F-A187-4622-BD57-268CCEBEC62C}" dt="2024-03-01T13:40:56.599" v="3243" actId="1076"/>
          <ac:spMkLst>
            <pc:docMk/>
            <pc:sldMk cId="458793354" sldId="2147478942"/>
            <ac:spMk id="2" creationId="{E5889158-7851-68BE-40C4-B67DFFDD700A}"/>
          </ac:spMkLst>
        </pc:spChg>
        <pc:spChg chg="mod">
          <ac:chgData name="Engel, Troy [JJCUS NON-J&amp;J]" userId="eab39b0b-0874-4185-ab60-88940d3b579c" providerId="ADAL" clId="{78728C2F-A187-4622-BD57-268CCEBEC62C}" dt="2024-03-01T13:41:03.599" v="3245" actId="1076"/>
          <ac:spMkLst>
            <pc:docMk/>
            <pc:sldMk cId="458793354" sldId="2147478942"/>
            <ac:spMk id="3" creationId="{56097C30-BD20-EFED-45C8-6D50FAB311B2}"/>
          </ac:spMkLst>
        </pc:spChg>
        <pc:spChg chg="del">
          <ac:chgData name="Engel, Troy [JJCUS NON-J&amp;J]" userId="eab39b0b-0874-4185-ab60-88940d3b579c" providerId="ADAL" clId="{78728C2F-A187-4622-BD57-268CCEBEC62C}" dt="2024-03-01T13:32:47.488" v="3129" actId="478"/>
          <ac:spMkLst>
            <pc:docMk/>
            <pc:sldMk cId="458793354" sldId="2147478942"/>
            <ac:spMk id="4" creationId="{992BBBBF-68F3-BE61-E4F8-04662579E8D1}"/>
          </ac:spMkLst>
        </pc:spChg>
        <pc:spChg chg="del">
          <ac:chgData name="Engel, Troy [JJCUS NON-J&amp;J]" userId="eab39b0b-0874-4185-ab60-88940d3b579c" providerId="ADAL" clId="{78728C2F-A187-4622-BD57-268CCEBEC62C}" dt="2024-03-01T13:32:47.488" v="3129" actId="478"/>
          <ac:spMkLst>
            <pc:docMk/>
            <pc:sldMk cId="458793354" sldId="2147478942"/>
            <ac:spMk id="11" creationId="{0C3BC4E5-30FC-E5EA-DC77-114CADFDA48E}"/>
          </ac:spMkLst>
        </pc:spChg>
        <pc:spChg chg="del">
          <ac:chgData name="Engel, Troy [JJCUS NON-J&amp;J]" userId="eab39b0b-0874-4185-ab60-88940d3b579c" providerId="ADAL" clId="{78728C2F-A187-4622-BD57-268CCEBEC62C}" dt="2024-03-01T13:32:47.488" v="3129" actId="478"/>
          <ac:spMkLst>
            <pc:docMk/>
            <pc:sldMk cId="458793354" sldId="2147478942"/>
            <ac:spMk id="12" creationId="{20AECF4B-E37C-1238-49D7-2F598D2E9615}"/>
          </ac:spMkLst>
        </pc:spChg>
        <pc:spChg chg="del">
          <ac:chgData name="Engel, Troy [JJCUS NON-J&amp;J]" userId="eab39b0b-0874-4185-ab60-88940d3b579c" providerId="ADAL" clId="{78728C2F-A187-4622-BD57-268CCEBEC62C}" dt="2024-03-01T13:32:47.488" v="3129" actId="478"/>
          <ac:spMkLst>
            <pc:docMk/>
            <pc:sldMk cId="458793354" sldId="2147478942"/>
            <ac:spMk id="16" creationId="{5F62D41F-0290-B091-BE2B-94632FD13A51}"/>
          </ac:spMkLst>
        </pc:spChg>
        <pc:picChg chg="del">
          <ac:chgData name="Engel, Troy [JJCUS NON-J&amp;J]" userId="eab39b0b-0874-4185-ab60-88940d3b579c" providerId="ADAL" clId="{78728C2F-A187-4622-BD57-268CCEBEC62C}" dt="2024-03-01T13:32:47.488" v="3129" actId="478"/>
          <ac:picMkLst>
            <pc:docMk/>
            <pc:sldMk cId="458793354" sldId="2147478942"/>
            <ac:picMk id="6" creationId="{BF2AADB1-E3AB-FDB9-6383-601F5546DA8A}"/>
          </ac:picMkLst>
        </pc:picChg>
        <pc:picChg chg="del">
          <ac:chgData name="Engel, Troy [JJCUS NON-J&amp;J]" userId="eab39b0b-0874-4185-ab60-88940d3b579c" providerId="ADAL" clId="{78728C2F-A187-4622-BD57-268CCEBEC62C}" dt="2024-03-01T13:32:47.488" v="3129" actId="478"/>
          <ac:picMkLst>
            <pc:docMk/>
            <pc:sldMk cId="458793354" sldId="2147478942"/>
            <ac:picMk id="8" creationId="{3AD53929-E4D4-FB98-FE02-6E423068A7FF}"/>
          </ac:picMkLst>
        </pc:picChg>
        <pc:picChg chg="del">
          <ac:chgData name="Engel, Troy [JJCUS NON-J&amp;J]" userId="eab39b0b-0874-4185-ab60-88940d3b579c" providerId="ADAL" clId="{78728C2F-A187-4622-BD57-268CCEBEC62C}" dt="2024-03-01T13:32:47.488" v="3129" actId="478"/>
          <ac:picMkLst>
            <pc:docMk/>
            <pc:sldMk cId="458793354" sldId="2147478942"/>
            <ac:picMk id="19" creationId="{A4FA0733-6CC2-36AB-0F0D-4733735D6918}"/>
          </ac:picMkLst>
        </pc:picChg>
        <pc:picChg chg="del">
          <ac:chgData name="Engel, Troy [JJCUS NON-J&amp;J]" userId="eab39b0b-0874-4185-ab60-88940d3b579c" providerId="ADAL" clId="{78728C2F-A187-4622-BD57-268CCEBEC62C}" dt="2024-03-01T13:32:47.488" v="3129" actId="478"/>
          <ac:picMkLst>
            <pc:docMk/>
            <pc:sldMk cId="458793354" sldId="2147478942"/>
            <ac:picMk id="23" creationId="{9456F307-B1A9-A5FB-D6CD-26A54BCBE9A9}"/>
          </ac:picMkLst>
        </pc:picChg>
      </pc:sldChg>
      <pc:sldChg chg="addSp delSp modSp add mod">
        <pc:chgData name="Engel, Troy [JJCUS NON-J&amp;J]" userId="eab39b0b-0874-4185-ab60-88940d3b579c" providerId="ADAL" clId="{78728C2F-A187-4622-BD57-268CCEBEC62C}" dt="2024-03-01T15:13:10.375" v="3536" actId="1076"/>
        <pc:sldMkLst>
          <pc:docMk/>
          <pc:sldMk cId="2791680915" sldId="2147478943"/>
        </pc:sldMkLst>
        <pc:spChg chg="mod">
          <ac:chgData name="Engel, Troy [JJCUS NON-J&amp;J]" userId="eab39b0b-0874-4185-ab60-88940d3b579c" providerId="ADAL" clId="{78728C2F-A187-4622-BD57-268CCEBEC62C}" dt="2024-03-01T15:11:33.075" v="3532" actId="20577"/>
          <ac:spMkLst>
            <pc:docMk/>
            <pc:sldMk cId="2791680915" sldId="2147478943"/>
            <ac:spMk id="2" creationId="{04A0C8C6-A34B-6335-5142-C798084D5127}"/>
          </ac:spMkLst>
        </pc:spChg>
        <pc:spChg chg="del">
          <ac:chgData name="Engel, Troy [JJCUS NON-J&amp;J]" userId="eab39b0b-0874-4185-ab60-88940d3b579c" providerId="ADAL" clId="{78728C2F-A187-4622-BD57-268CCEBEC62C}" dt="2024-03-01T15:11:39.874" v="3533" actId="478"/>
          <ac:spMkLst>
            <pc:docMk/>
            <pc:sldMk cId="2791680915" sldId="2147478943"/>
            <ac:spMk id="7" creationId="{F6723A1A-71A6-5DA9-B67C-4BE585A8B29A}"/>
          </ac:spMkLst>
        </pc:spChg>
        <pc:spChg chg="del">
          <ac:chgData name="Engel, Troy [JJCUS NON-J&amp;J]" userId="eab39b0b-0874-4185-ab60-88940d3b579c" providerId="ADAL" clId="{78728C2F-A187-4622-BD57-268CCEBEC62C}" dt="2024-03-01T15:11:39.874" v="3533" actId="478"/>
          <ac:spMkLst>
            <pc:docMk/>
            <pc:sldMk cId="2791680915" sldId="2147478943"/>
            <ac:spMk id="9" creationId="{C5F14ED2-A16B-266B-5216-E73A94E2578B}"/>
          </ac:spMkLst>
        </pc:spChg>
        <pc:spChg chg="del">
          <ac:chgData name="Engel, Troy [JJCUS NON-J&amp;J]" userId="eab39b0b-0874-4185-ab60-88940d3b579c" providerId="ADAL" clId="{78728C2F-A187-4622-BD57-268CCEBEC62C}" dt="2024-03-01T15:11:39.874" v="3533" actId="478"/>
          <ac:spMkLst>
            <pc:docMk/>
            <pc:sldMk cId="2791680915" sldId="2147478943"/>
            <ac:spMk id="10" creationId="{D038B19D-0BD2-3C1B-B4CB-2696B8BEAE13}"/>
          </ac:spMkLst>
        </pc:spChg>
        <pc:spChg chg="del">
          <ac:chgData name="Engel, Troy [JJCUS NON-J&amp;J]" userId="eab39b0b-0874-4185-ab60-88940d3b579c" providerId="ADAL" clId="{78728C2F-A187-4622-BD57-268CCEBEC62C}" dt="2024-03-01T15:11:39.874" v="3533" actId="478"/>
          <ac:spMkLst>
            <pc:docMk/>
            <pc:sldMk cId="2791680915" sldId="2147478943"/>
            <ac:spMk id="11" creationId="{E2C6B8CB-FB4C-B83C-ED9C-2B5570E0FEB6}"/>
          </ac:spMkLst>
        </pc:spChg>
        <pc:spChg chg="del">
          <ac:chgData name="Engel, Troy [JJCUS NON-J&amp;J]" userId="eab39b0b-0874-4185-ab60-88940d3b579c" providerId="ADAL" clId="{78728C2F-A187-4622-BD57-268CCEBEC62C}" dt="2024-03-01T15:11:39.874" v="3533" actId="478"/>
          <ac:spMkLst>
            <pc:docMk/>
            <pc:sldMk cId="2791680915" sldId="2147478943"/>
            <ac:spMk id="12" creationId="{24C66D19-1F07-7FD5-94E4-7C69A3721D18}"/>
          </ac:spMkLst>
        </pc:spChg>
        <pc:picChg chg="add mod">
          <ac:chgData name="Engel, Troy [JJCUS NON-J&amp;J]" userId="eab39b0b-0874-4185-ab60-88940d3b579c" providerId="ADAL" clId="{78728C2F-A187-4622-BD57-268CCEBEC62C}" dt="2024-03-01T15:13:10.375" v="3536" actId="1076"/>
          <ac:picMkLst>
            <pc:docMk/>
            <pc:sldMk cId="2791680915" sldId="2147478943"/>
            <ac:picMk id="3" creationId="{96677FCE-2CA9-9934-82C4-608000FC98F9}"/>
          </ac:picMkLst>
        </pc:picChg>
        <pc:picChg chg="del">
          <ac:chgData name="Engel, Troy [JJCUS NON-J&amp;J]" userId="eab39b0b-0874-4185-ab60-88940d3b579c" providerId="ADAL" clId="{78728C2F-A187-4622-BD57-268CCEBEC62C}" dt="2024-03-01T15:11:39.874" v="3533" actId="478"/>
          <ac:picMkLst>
            <pc:docMk/>
            <pc:sldMk cId="2791680915" sldId="2147478943"/>
            <ac:picMk id="4" creationId="{1A810101-BB0C-6FA1-CB80-31EB879CE018}"/>
          </ac:picMkLst>
        </pc:picChg>
        <pc:picChg chg="del">
          <ac:chgData name="Engel, Troy [JJCUS NON-J&amp;J]" userId="eab39b0b-0874-4185-ab60-88940d3b579c" providerId="ADAL" clId="{78728C2F-A187-4622-BD57-268CCEBEC62C}" dt="2024-03-01T15:11:39.874" v="3533" actId="478"/>
          <ac:picMkLst>
            <pc:docMk/>
            <pc:sldMk cId="2791680915" sldId="2147478943"/>
            <ac:picMk id="6" creationId="{70ABD932-571B-DDB1-10AC-E8E3FC5C2447}"/>
          </ac:picMkLst>
        </pc:picChg>
      </pc:sldChg>
      <pc:sldMasterChg chg="delSldLayout">
        <pc:chgData name="Engel, Troy [JJCUS NON-J&amp;J]" userId="eab39b0b-0874-4185-ab60-88940d3b579c" providerId="ADAL" clId="{78728C2F-A187-4622-BD57-268CCEBEC62C}" dt="2024-02-29T23:45:42.134" v="209" actId="2696"/>
        <pc:sldMasterMkLst>
          <pc:docMk/>
          <pc:sldMasterMk cId="725454900" sldId="2147483859"/>
        </pc:sldMasterMkLst>
        <pc:sldLayoutChg chg="del">
          <pc:chgData name="Engel, Troy [JJCUS NON-J&amp;J]" userId="eab39b0b-0874-4185-ab60-88940d3b579c" providerId="ADAL" clId="{78728C2F-A187-4622-BD57-268CCEBEC62C}" dt="2024-02-29T23:45:42.134" v="209" actId="2696"/>
          <pc:sldLayoutMkLst>
            <pc:docMk/>
            <pc:sldMasterMk cId="725454900" sldId="2147483859"/>
            <pc:sldLayoutMk cId="1241052586" sldId="2147483896"/>
          </pc:sldLayoutMkLst>
        </pc:sldLayoutChg>
      </pc:sldMasterChg>
      <pc:sldMasterChg chg="addSldLayout delSldLayout">
        <pc:chgData name="Engel, Troy [JJCUS NON-J&amp;J]" userId="eab39b0b-0874-4185-ab60-88940d3b579c" providerId="ADAL" clId="{78728C2F-A187-4622-BD57-268CCEBEC62C}" dt="2024-03-01T00:23:55.445" v="936" actId="47"/>
        <pc:sldMasterMkLst>
          <pc:docMk/>
          <pc:sldMasterMk cId="1165720981" sldId="2147483901"/>
        </pc:sldMasterMkLst>
        <pc:sldLayoutChg chg="add del">
          <pc:chgData name="Engel, Troy [JJCUS NON-J&amp;J]" userId="eab39b0b-0874-4185-ab60-88940d3b579c" providerId="ADAL" clId="{78728C2F-A187-4622-BD57-268CCEBEC62C}" dt="2024-03-01T00:23:55.445" v="936" actId="47"/>
          <pc:sldLayoutMkLst>
            <pc:docMk/>
            <pc:sldMasterMk cId="1165720981" sldId="2147483901"/>
            <pc:sldLayoutMk cId="3302121811" sldId="2147483952"/>
          </pc:sldLayoutMkLst>
        </pc:sldLayoutChg>
      </pc:sldMasterChg>
    </pc:docChg>
  </pc:docChgLst>
  <pc:docChgLst>
    <pc:chgData name="Engel, Troy [JJCUS NON-J&amp;J]" userId="eab39b0b-0874-4185-ab60-88940d3b579c" providerId="ADAL" clId="{CA18739B-3186-42B0-AA33-B60FBB208E20}"/>
    <pc:docChg chg="undo redo custSel addSld delSld modSld sldOrd">
      <pc:chgData name="Engel, Troy [JJCUS NON-J&amp;J]" userId="eab39b0b-0874-4185-ab60-88940d3b579c" providerId="ADAL" clId="{CA18739B-3186-42B0-AA33-B60FBB208E20}" dt="2024-03-06T18:34:19.550" v="985" actId="1076"/>
      <pc:docMkLst>
        <pc:docMk/>
      </pc:docMkLst>
      <pc:sldChg chg="modSp del mod">
        <pc:chgData name="Engel, Troy [JJCUS NON-J&amp;J]" userId="eab39b0b-0874-4185-ab60-88940d3b579c" providerId="ADAL" clId="{CA18739B-3186-42B0-AA33-B60FBB208E20}" dt="2024-03-06T18:13:24.388" v="723" actId="2696"/>
        <pc:sldMkLst>
          <pc:docMk/>
          <pc:sldMk cId="1165562104" sldId="345"/>
        </pc:sldMkLst>
        <pc:spChg chg="mod">
          <ac:chgData name="Engel, Troy [JJCUS NON-J&amp;J]" userId="eab39b0b-0874-4185-ab60-88940d3b579c" providerId="ADAL" clId="{CA18739B-3186-42B0-AA33-B60FBB208E20}" dt="2024-03-05T21:15:54.692" v="7" actId="20577"/>
          <ac:spMkLst>
            <pc:docMk/>
            <pc:sldMk cId="1165562104" sldId="345"/>
            <ac:spMk id="2" creationId="{85F2B1EF-F73A-8046-8D0F-CDCFEFB2A24B}"/>
          </ac:spMkLst>
        </pc:spChg>
        <pc:spChg chg="mod">
          <ac:chgData name="Engel, Troy [JJCUS NON-J&amp;J]" userId="eab39b0b-0874-4185-ab60-88940d3b579c" providerId="ADAL" clId="{CA18739B-3186-42B0-AA33-B60FBB208E20}" dt="2024-03-06T18:11:03.133" v="633" actId="14100"/>
          <ac:spMkLst>
            <pc:docMk/>
            <pc:sldMk cId="1165562104" sldId="345"/>
            <ac:spMk id="4" creationId="{FB4D8529-79DD-FD46-B5A7-628F64FAF19C}"/>
          </ac:spMkLst>
        </pc:spChg>
      </pc:sldChg>
      <pc:sldChg chg="modSp mod">
        <pc:chgData name="Engel, Troy [JJCUS NON-J&amp;J]" userId="eab39b0b-0874-4185-ab60-88940d3b579c" providerId="ADAL" clId="{CA18739B-3186-42B0-AA33-B60FBB208E20}" dt="2024-03-05T21:09:22.582" v="6" actId="20577"/>
        <pc:sldMkLst>
          <pc:docMk/>
          <pc:sldMk cId="2453225674" sldId="479"/>
        </pc:sldMkLst>
        <pc:graphicFrameChg chg="modGraphic">
          <ac:chgData name="Engel, Troy [JJCUS NON-J&amp;J]" userId="eab39b0b-0874-4185-ab60-88940d3b579c" providerId="ADAL" clId="{CA18739B-3186-42B0-AA33-B60FBB208E20}" dt="2024-03-05T21:09:22.582" v="6" actId="20577"/>
          <ac:graphicFrameMkLst>
            <pc:docMk/>
            <pc:sldMk cId="2453225674" sldId="479"/>
            <ac:graphicFrameMk id="26" creationId="{92441FFA-2AD5-6E44-8FCA-34CCB5215D91}"/>
          </ac:graphicFrameMkLst>
        </pc:graphicFrameChg>
      </pc:sldChg>
      <pc:sldChg chg="modSp del mod ord">
        <pc:chgData name="Engel, Troy [JJCUS NON-J&amp;J]" userId="eab39b0b-0874-4185-ab60-88940d3b579c" providerId="ADAL" clId="{CA18739B-3186-42B0-AA33-B60FBB208E20}" dt="2024-03-06T18:02:59.089" v="476" actId="2696"/>
        <pc:sldMkLst>
          <pc:docMk/>
          <pc:sldMk cId="1990109457" sldId="2147478926"/>
        </pc:sldMkLst>
        <pc:spChg chg="mod">
          <ac:chgData name="Engel, Troy [JJCUS NON-J&amp;J]" userId="eab39b0b-0874-4185-ab60-88940d3b579c" providerId="ADAL" clId="{CA18739B-3186-42B0-AA33-B60FBB208E20}" dt="2024-03-06T17:58:43.807" v="404" actId="1036"/>
          <ac:spMkLst>
            <pc:docMk/>
            <pc:sldMk cId="1990109457" sldId="2147478926"/>
            <ac:spMk id="7" creationId="{63F08D07-8082-DE17-5C30-99FFB12F8E55}"/>
          </ac:spMkLst>
        </pc:spChg>
        <pc:spChg chg="mod">
          <ac:chgData name="Engel, Troy [JJCUS NON-J&amp;J]" userId="eab39b0b-0874-4185-ab60-88940d3b579c" providerId="ADAL" clId="{CA18739B-3186-42B0-AA33-B60FBB208E20}" dt="2024-03-06T16:44:09.013" v="57" actId="1037"/>
          <ac:spMkLst>
            <pc:docMk/>
            <pc:sldMk cId="1990109457" sldId="2147478926"/>
            <ac:spMk id="16" creationId="{086BF6F6-9F6A-E6A3-B226-2D66064B14D2}"/>
          </ac:spMkLst>
        </pc:spChg>
      </pc:sldChg>
      <pc:sldChg chg="modSp del mod ord">
        <pc:chgData name="Engel, Troy [JJCUS NON-J&amp;J]" userId="eab39b0b-0874-4185-ab60-88940d3b579c" providerId="ADAL" clId="{CA18739B-3186-42B0-AA33-B60FBB208E20}" dt="2024-03-06T18:09:59.199" v="629" actId="2696"/>
        <pc:sldMkLst>
          <pc:docMk/>
          <pc:sldMk cId="525180892" sldId="2147478927"/>
        </pc:sldMkLst>
        <pc:spChg chg="mod">
          <ac:chgData name="Engel, Troy [JJCUS NON-J&amp;J]" userId="eab39b0b-0874-4185-ab60-88940d3b579c" providerId="ADAL" clId="{CA18739B-3186-42B0-AA33-B60FBB208E20}" dt="2024-03-05T21:16:08.005" v="10" actId="20577"/>
          <ac:spMkLst>
            <pc:docMk/>
            <pc:sldMk cId="525180892" sldId="2147478927"/>
            <ac:spMk id="9" creationId="{F8E6512F-D2F5-576F-5AB3-179923CE83BE}"/>
          </ac:spMkLst>
        </pc:spChg>
        <pc:spChg chg="mod">
          <ac:chgData name="Engel, Troy [JJCUS NON-J&amp;J]" userId="eab39b0b-0874-4185-ab60-88940d3b579c" providerId="ADAL" clId="{CA18739B-3186-42B0-AA33-B60FBB208E20}" dt="2024-03-06T16:44:59.072" v="80" actId="1036"/>
          <ac:spMkLst>
            <pc:docMk/>
            <pc:sldMk cId="525180892" sldId="2147478927"/>
            <ac:spMk id="12" creationId="{E8757439-7A4A-480A-0D43-EC7881503343}"/>
          </ac:spMkLst>
        </pc:spChg>
        <pc:spChg chg="mod">
          <ac:chgData name="Engel, Troy [JJCUS NON-J&amp;J]" userId="eab39b0b-0874-4185-ab60-88940d3b579c" providerId="ADAL" clId="{CA18739B-3186-42B0-AA33-B60FBB208E20}" dt="2024-03-06T16:45:06.322" v="81" actId="14100"/>
          <ac:spMkLst>
            <pc:docMk/>
            <pc:sldMk cId="525180892" sldId="2147478927"/>
            <ac:spMk id="16" creationId="{3876A0AC-1251-C825-8747-9B54661A887A}"/>
          </ac:spMkLst>
        </pc:spChg>
        <pc:picChg chg="mod">
          <ac:chgData name="Engel, Troy [JJCUS NON-J&amp;J]" userId="eab39b0b-0874-4185-ab60-88940d3b579c" providerId="ADAL" clId="{CA18739B-3186-42B0-AA33-B60FBB208E20}" dt="2024-03-06T16:44:59.072" v="80" actId="1036"/>
          <ac:picMkLst>
            <pc:docMk/>
            <pc:sldMk cId="525180892" sldId="2147478927"/>
            <ac:picMk id="28" creationId="{9033D664-0D76-D64E-4648-75C89BD2308E}"/>
          </ac:picMkLst>
        </pc:picChg>
        <pc:picChg chg="mod">
          <ac:chgData name="Engel, Troy [JJCUS NON-J&amp;J]" userId="eab39b0b-0874-4185-ab60-88940d3b579c" providerId="ADAL" clId="{CA18739B-3186-42B0-AA33-B60FBB208E20}" dt="2024-03-06T16:44:59.072" v="80" actId="1036"/>
          <ac:picMkLst>
            <pc:docMk/>
            <pc:sldMk cId="525180892" sldId="2147478927"/>
            <ac:picMk id="30" creationId="{EFD05BA0-3B20-3318-B25C-A308061CC27F}"/>
          </ac:picMkLst>
        </pc:picChg>
      </pc:sldChg>
      <pc:sldChg chg="modSp del mod ord">
        <pc:chgData name="Engel, Troy [JJCUS NON-J&amp;J]" userId="eab39b0b-0874-4185-ab60-88940d3b579c" providerId="ADAL" clId="{CA18739B-3186-42B0-AA33-B60FBB208E20}" dt="2024-03-06T18:06:13.007" v="551" actId="2696"/>
        <pc:sldMkLst>
          <pc:docMk/>
          <pc:sldMk cId="2661920015" sldId="2147478928"/>
        </pc:sldMkLst>
        <pc:spChg chg="mod">
          <ac:chgData name="Engel, Troy [JJCUS NON-J&amp;J]" userId="eab39b0b-0874-4185-ab60-88940d3b579c" providerId="ADAL" clId="{CA18739B-3186-42B0-AA33-B60FBB208E20}" dt="2024-03-06T18:04:08.277" v="485" actId="1036"/>
          <ac:spMkLst>
            <pc:docMk/>
            <pc:sldMk cId="2661920015" sldId="2147478928"/>
            <ac:spMk id="3" creationId="{FF1C349A-C327-546F-C007-0099CA07D1B3}"/>
          </ac:spMkLst>
        </pc:spChg>
        <pc:spChg chg="mod">
          <ac:chgData name="Engel, Troy [JJCUS NON-J&amp;J]" userId="eab39b0b-0874-4185-ab60-88940d3b579c" providerId="ADAL" clId="{CA18739B-3186-42B0-AA33-B60FBB208E20}" dt="2024-03-05T21:16:24.349" v="16" actId="20577"/>
          <ac:spMkLst>
            <pc:docMk/>
            <pc:sldMk cId="2661920015" sldId="2147478928"/>
            <ac:spMk id="7" creationId="{062C6266-B17B-1693-19FE-8E7AA622B40C}"/>
          </ac:spMkLst>
        </pc:spChg>
        <pc:spChg chg="mod">
          <ac:chgData name="Engel, Troy [JJCUS NON-J&amp;J]" userId="eab39b0b-0874-4185-ab60-88940d3b579c" providerId="ADAL" clId="{CA18739B-3186-42B0-AA33-B60FBB208E20}" dt="2024-03-06T16:44:39.446" v="69" actId="1035"/>
          <ac:spMkLst>
            <pc:docMk/>
            <pc:sldMk cId="2661920015" sldId="2147478928"/>
            <ac:spMk id="16" creationId="{608D5F0C-D165-318A-8793-55D5B40A1939}"/>
          </ac:spMkLst>
        </pc:spChg>
      </pc:sldChg>
      <pc:sldChg chg="addSp delSp modSp mod chgLayout">
        <pc:chgData name="Engel, Troy [JJCUS NON-J&amp;J]" userId="eab39b0b-0874-4185-ab60-88940d3b579c" providerId="ADAL" clId="{CA18739B-3186-42B0-AA33-B60FBB208E20}" dt="2024-03-06T17:30:50.441" v="127" actId="1035"/>
        <pc:sldMkLst>
          <pc:docMk/>
          <pc:sldMk cId="145300885" sldId="2147478930"/>
        </pc:sldMkLst>
        <pc:spChg chg="add del">
          <ac:chgData name="Engel, Troy [JJCUS NON-J&amp;J]" userId="eab39b0b-0874-4185-ab60-88940d3b579c" providerId="ADAL" clId="{CA18739B-3186-42B0-AA33-B60FBB208E20}" dt="2024-03-06T17:29:47.826" v="85" actId="22"/>
          <ac:spMkLst>
            <pc:docMk/>
            <pc:sldMk cId="145300885" sldId="2147478930"/>
            <ac:spMk id="5" creationId="{F14A9C9B-F7AC-A8D0-BE43-5EC99CAFB13B}"/>
          </ac:spMkLst>
        </pc:spChg>
        <pc:spChg chg="add del mod ord">
          <ac:chgData name="Engel, Troy [JJCUS NON-J&amp;J]" userId="eab39b0b-0874-4185-ab60-88940d3b579c" providerId="ADAL" clId="{CA18739B-3186-42B0-AA33-B60FBB208E20}" dt="2024-03-06T17:29:55.536" v="87" actId="700"/>
          <ac:spMkLst>
            <pc:docMk/>
            <pc:sldMk cId="145300885" sldId="2147478930"/>
            <ac:spMk id="7" creationId="{81831093-C48C-8469-D3F2-A2E8C68656C3}"/>
          </ac:spMkLst>
        </pc:spChg>
        <pc:spChg chg="add del mod ord">
          <ac:chgData name="Engel, Troy [JJCUS NON-J&amp;J]" userId="eab39b0b-0874-4185-ab60-88940d3b579c" providerId="ADAL" clId="{CA18739B-3186-42B0-AA33-B60FBB208E20}" dt="2024-03-06T17:29:55.536" v="87" actId="700"/>
          <ac:spMkLst>
            <pc:docMk/>
            <pc:sldMk cId="145300885" sldId="2147478930"/>
            <ac:spMk id="8" creationId="{21988B49-6C8F-1E0B-D4B2-4BCB2D5B23E0}"/>
          </ac:spMkLst>
        </pc:spChg>
        <pc:spChg chg="add del mod ord">
          <ac:chgData name="Engel, Troy [JJCUS NON-J&amp;J]" userId="eab39b0b-0874-4185-ab60-88940d3b579c" providerId="ADAL" clId="{CA18739B-3186-42B0-AA33-B60FBB208E20}" dt="2024-03-06T17:29:55.536" v="87" actId="700"/>
          <ac:spMkLst>
            <pc:docMk/>
            <pc:sldMk cId="145300885" sldId="2147478930"/>
            <ac:spMk id="9" creationId="{1626154E-5982-9A08-F891-1CAE5B9D9372}"/>
          </ac:spMkLst>
        </pc:spChg>
        <pc:spChg chg="add del mod ord">
          <ac:chgData name="Engel, Troy [JJCUS NON-J&amp;J]" userId="eab39b0b-0874-4185-ab60-88940d3b579c" providerId="ADAL" clId="{CA18739B-3186-42B0-AA33-B60FBB208E20}" dt="2024-03-06T17:29:55.536" v="87" actId="700"/>
          <ac:spMkLst>
            <pc:docMk/>
            <pc:sldMk cId="145300885" sldId="2147478930"/>
            <ac:spMk id="10" creationId="{3E9B59D0-C562-FD88-CF14-3E9D553CE8EF}"/>
          </ac:spMkLst>
        </pc:spChg>
        <pc:picChg chg="del">
          <ac:chgData name="Engel, Troy [JJCUS NON-J&amp;J]" userId="eab39b0b-0874-4185-ab60-88940d3b579c" providerId="ADAL" clId="{CA18739B-3186-42B0-AA33-B60FBB208E20}" dt="2024-03-06T17:29:38.441" v="82" actId="478"/>
          <ac:picMkLst>
            <pc:docMk/>
            <pc:sldMk cId="145300885" sldId="2147478930"/>
            <ac:picMk id="6" creationId="{7FD5DB6E-FE49-021F-2360-BFDE369164A7}"/>
          </ac:picMkLst>
        </pc:picChg>
        <pc:picChg chg="add mod">
          <ac:chgData name="Engel, Troy [JJCUS NON-J&amp;J]" userId="eab39b0b-0874-4185-ab60-88940d3b579c" providerId="ADAL" clId="{CA18739B-3186-42B0-AA33-B60FBB208E20}" dt="2024-03-06T17:30:50.441" v="127" actId="1035"/>
          <ac:picMkLst>
            <pc:docMk/>
            <pc:sldMk cId="145300885" sldId="2147478930"/>
            <ac:picMk id="11" creationId="{14FF8A37-767D-84B8-4BBF-20D3DB966380}"/>
          </ac:picMkLst>
        </pc:picChg>
      </pc:sldChg>
      <pc:sldChg chg="modSp mod">
        <pc:chgData name="Engel, Troy [JJCUS NON-J&amp;J]" userId="eab39b0b-0874-4185-ab60-88940d3b579c" providerId="ADAL" clId="{CA18739B-3186-42B0-AA33-B60FBB208E20}" dt="2024-03-06T17:31:59.957" v="164" actId="1036"/>
        <pc:sldMkLst>
          <pc:docMk/>
          <pc:sldMk cId="2206488252" sldId="2147478932"/>
        </pc:sldMkLst>
        <pc:picChg chg="mod modCrop">
          <ac:chgData name="Engel, Troy [JJCUS NON-J&amp;J]" userId="eab39b0b-0874-4185-ab60-88940d3b579c" providerId="ADAL" clId="{CA18739B-3186-42B0-AA33-B60FBB208E20}" dt="2024-03-06T17:31:59.957" v="164" actId="1036"/>
          <ac:picMkLst>
            <pc:docMk/>
            <pc:sldMk cId="2206488252" sldId="2147478932"/>
            <ac:picMk id="6" creationId="{64EE76D3-17DF-D28C-A45E-D76626E67F91}"/>
          </ac:picMkLst>
        </pc:picChg>
      </pc:sldChg>
      <pc:sldChg chg="addSp delSp modSp mod">
        <pc:chgData name="Engel, Troy [JJCUS NON-J&amp;J]" userId="eab39b0b-0874-4185-ab60-88940d3b579c" providerId="ADAL" clId="{CA18739B-3186-42B0-AA33-B60FBB208E20}" dt="2024-03-06T17:37:56.589" v="251" actId="1036"/>
        <pc:sldMkLst>
          <pc:docMk/>
          <pc:sldMk cId="2666382514" sldId="2147478933"/>
        </pc:sldMkLst>
        <pc:picChg chg="add mod">
          <ac:chgData name="Engel, Troy [JJCUS NON-J&amp;J]" userId="eab39b0b-0874-4185-ab60-88940d3b579c" providerId="ADAL" clId="{CA18739B-3186-42B0-AA33-B60FBB208E20}" dt="2024-03-06T17:37:56.589" v="251" actId="1036"/>
          <ac:picMkLst>
            <pc:docMk/>
            <pc:sldMk cId="2666382514" sldId="2147478933"/>
            <ac:picMk id="3" creationId="{9F2E6620-1954-757D-A633-9E49884D0924}"/>
          </ac:picMkLst>
        </pc:picChg>
        <pc:picChg chg="del">
          <ac:chgData name="Engel, Troy [JJCUS NON-J&amp;J]" userId="eab39b0b-0874-4185-ab60-88940d3b579c" providerId="ADAL" clId="{CA18739B-3186-42B0-AA33-B60FBB208E20}" dt="2024-03-06T17:34:59.114" v="165" actId="478"/>
          <ac:picMkLst>
            <pc:docMk/>
            <pc:sldMk cId="2666382514" sldId="2147478933"/>
            <ac:picMk id="8" creationId="{5CAD127B-62FA-472E-2BDB-8E52B86CD126}"/>
          </ac:picMkLst>
        </pc:picChg>
      </pc:sldChg>
      <pc:sldChg chg="addSp delSp modSp mod">
        <pc:chgData name="Engel, Troy [JJCUS NON-J&amp;J]" userId="eab39b0b-0874-4185-ab60-88940d3b579c" providerId="ADAL" clId="{CA18739B-3186-42B0-AA33-B60FBB208E20}" dt="2024-03-06T17:40:36.752" v="272" actId="1038"/>
        <pc:sldMkLst>
          <pc:docMk/>
          <pc:sldMk cId="2297899489" sldId="2147478934"/>
        </pc:sldMkLst>
        <pc:picChg chg="add mod">
          <ac:chgData name="Engel, Troy [JJCUS NON-J&amp;J]" userId="eab39b0b-0874-4185-ab60-88940d3b579c" providerId="ADAL" clId="{CA18739B-3186-42B0-AA33-B60FBB208E20}" dt="2024-03-06T17:40:36.752" v="272" actId="1038"/>
          <ac:picMkLst>
            <pc:docMk/>
            <pc:sldMk cId="2297899489" sldId="2147478934"/>
            <ac:picMk id="3" creationId="{E16DCB55-2851-C340-0B41-B87A01F003CE}"/>
          </ac:picMkLst>
        </pc:picChg>
        <pc:picChg chg="del">
          <ac:chgData name="Engel, Troy [JJCUS NON-J&amp;J]" userId="eab39b0b-0874-4185-ab60-88940d3b579c" providerId="ADAL" clId="{CA18739B-3186-42B0-AA33-B60FBB208E20}" dt="2024-03-06T17:38:19.629" v="252" actId="478"/>
          <ac:picMkLst>
            <pc:docMk/>
            <pc:sldMk cId="2297899489" sldId="2147478934"/>
            <ac:picMk id="5" creationId="{4B4618AE-A230-FA1E-E70D-C783636D2BD2}"/>
          </ac:picMkLst>
        </pc:picChg>
      </pc:sldChg>
      <pc:sldChg chg="addSp delSp modSp mod chgLayout">
        <pc:chgData name="Engel, Troy [JJCUS NON-J&amp;J]" userId="eab39b0b-0874-4185-ab60-88940d3b579c" providerId="ADAL" clId="{CA18739B-3186-42B0-AA33-B60FBB208E20}" dt="2024-03-06T17:44:05.083" v="360" actId="1038"/>
        <pc:sldMkLst>
          <pc:docMk/>
          <pc:sldMk cId="1314086140" sldId="2147478935"/>
        </pc:sldMkLst>
        <pc:spChg chg="add del mod ord">
          <ac:chgData name="Engel, Troy [JJCUS NON-J&amp;J]" userId="eab39b0b-0874-4185-ab60-88940d3b579c" providerId="ADAL" clId="{CA18739B-3186-42B0-AA33-B60FBB208E20}" dt="2024-03-06T17:43:42.876" v="275" actId="700"/>
          <ac:spMkLst>
            <pc:docMk/>
            <pc:sldMk cId="1314086140" sldId="2147478935"/>
            <ac:spMk id="3" creationId="{1009541F-7E6A-2ECC-C3DC-D07A8C8A7E3D}"/>
          </ac:spMkLst>
        </pc:spChg>
        <pc:spChg chg="add del mod ord">
          <ac:chgData name="Engel, Troy [JJCUS NON-J&amp;J]" userId="eab39b0b-0874-4185-ab60-88940d3b579c" providerId="ADAL" clId="{CA18739B-3186-42B0-AA33-B60FBB208E20}" dt="2024-03-06T17:43:42.876" v="275" actId="700"/>
          <ac:spMkLst>
            <pc:docMk/>
            <pc:sldMk cId="1314086140" sldId="2147478935"/>
            <ac:spMk id="5" creationId="{DFEEE999-30B4-25CE-D1CF-9FE0CF9DF6A7}"/>
          </ac:spMkLst>
        </pc:spChg>
        <pc:spChg chg="add del mod ord">
          <ac:chgData name="Engel, Troy [JJCUS NON-J&amp;J]" userId="eab39b0b-0874-4185-ab60-88940d3b579c" providerId="ADAL" clId="{CA18739B-3186-42B0-AA33-B60FBB208E20}" dt="2024-03-06T17:43:42.876" v="275" actId="700"/>
          <ac:spMkLst>
            <pc:docMk/>
            <pc:sldMk cId="1314086140" sldId="2147478935"/>
            <ac:spMk id="7" creationId="{535C6B24-E06C-55F8-3274-954943D8C1F6}"/>
          </ac:spMkLst>
        </pc:spChg>
        <pc:spChg chg="add del mod ord">
          <ac:chgData name="Engel, Troy [JJCUS NON-J&amp;J]" userId="eab39b0b-0874-4185-ab60-88940d3b579c" providerId="ADAL" clId="{CA18739B-3186-42B0-AA33-B60FBB208E20}" dt="2024-03-06T17:43:42.876" v="275" actId="700"/>
          <ac:spMkLst>
            <pc:docMk/>
            <pc:sldMk cId="1314086140" sldId="2147478935"/>
            <ac:spMk id="8" creationId="{9474563A-DB60-17A9-8D00-085A31467072}"/>
          </ac:spMkLst>
        </pc:spChg>
        <pc:picChg chg="del">
          <ac:chgData name="Engel, Troy [JJCUS NON-J&amp;J]" userId="eab39b0b-0874-4185-ab60-88940d3b579c" providerId="ADAL" clId="{CA18739B-3186-42B0-AA33-B60FBB208E20}" dt="2024-03-06T17:43:37.202" v="273" actId="478"/>
          <ac:picMkLst>
            <pc:docMk/>
            <pc:sldMk cId="1314086140" sldId="2147478935"/>
            <ac:picMk id="6" creationId="{8B8100A4-8BB7-1C16-DEA1-C03B8572C030}"/>
          </ac:picMkLst>
        </pc:picChg>
        <pc:picChg chg="add mod">
          <ac:chgData name="Engel, Troy [JJCUS NON-J&amp;J]" userId="eab39b0b-0874-4185-ab60-88940d3b579c" providerId="ADAL" clId="{CA18739B-3186-42B0-AA33-B60FBB208E20}" dt="2024-03-06T17:44:05.083" v="360" actId="1038"/>
          <ac:picMkLst>
            <pc:docMk/>
            <pc:sldMk cId="1314086140" sldId="2147478935"/>
            <ac:picMk id="9" creationId="{AD06CBB1-2860-5A1E-4723-197B96D1C8C7}"/>
          </ac:picMkLst>
        </pc:picChg>
      </pc:sldChg>
      <pc:sldChg chg="modSp mod">
        <pc:chgData name="Engel, Troy [JJCUS NON-J&amp;J]" userId="eab39b0b-0874-4185-ab60-88940d3b579c" providerId="ADAL" clId="{CA18739B-3186-42B0-AA33-B60FBB208E20}" dt="2024-03-06T17:44:59.304" v="370" actId="1037"/>
        <pc:sldMkLst>
          <pc:docMk/>
          <pc:sldMk cId="2499568197" sldId="2147478936"/>
        </pc:sldMkLst>
        <pc:picChg chg="mod">
          <ac:chgData name="Engel, Troy [JJCUS NON-J&amp;J]" userId="eab39b0b-0874-4185-ab60-88940d3b579c" providerId="ADAL" clId="{CA18739B-3186-42B0-AA33-B60FBB208E20}" dt="2024-03-06T17:44:59.304" v="370" actId="1037"/>
          <ac:picMkLst>
            <pc:docMk/>
            <pc:sldMk cId="2499568197" sldId="2147478936"/>
            <ac:picMk id="5" creationId="{A46AF34A-A465-4F56-6D91-E15E34512A1F}"/>
          </ac:picMkLst>
        </pc:picChg>
      </pc:sldChg>
      <pc:sldChg chg="modSp del mod">
        <pc:chgData name="Engel, Troy [JJCUS NON-J&amp;J]" userId="eab39b0b-0874-4185-ab60-88940d3b579c" providerId="ADAL" clId="{CA18739B-3186-42B0-AA33-B60FBB208E20}" dt="2024-03-06T18:15:12.279" v="760" actId="2696"/>
        <pc:sldMkLst>
          <pc:docMk/>
          <pc:sldMk cId="642511546" sldId="2147478938"/>
        </pc:sldMkLst>
        <pc:spChg chg="mod">
          <ac:chgData name="Engel, Troy [JJCUS NON-J&amp;J]" userId="eab39b0b-0874-4185-ab60-88940d3b579c" providerId="ADAL" clId="{CA18739B-3186-42B0-AA33-B60FBB208E20}" dt="2024-03-06T18:14:12.533" v="728" actId="14100"/>
          <ac:spMkLst>
            <pc:docMk/>
            <pc:sldMk cId="642511546" sldId="2147478938"/>
            <ac:spMk id="4" creationId="{D39811B9-FED8-32DA-0CA5-D5A6B3FB5C2F}"/>
          </ac:spMkLst>
        </pc:spChg>
        <pc:spChg chg="mod">
          <ac:chgData name="Engel, Troy [JJCUS NON-J&amp;J]" userId="eab39b0b-0874-4185-ab60-88940d3b579c" providerId="ADAL" clId="{CA18739B-3186-42B0-AA33-B60FBB208E20}" dt="2024-03-05T21:16:32.161" v="19" actId="20577"/>
          <ac:spMkLst>
            <pc:docMk/>
            <pc:sldMk cId="642511546" sldId="2147478938"/>
            <ac:spMk id="8" creationId="{D5FDF359-E236-C951-1467-EBA2F63A0CF7}"/>
          </ac:spMkLst>
        </pc:spChg>
      </pc:sldChg>
      <pc:sldChg chg="modSp del mod">
        <pc:chgData name="Engel, Troy [JJCUS NON-J&amp;J]" userId="eab39b0b-0874-4185-ab60-88940d3b579c" providerId="ADAL" clId="{CA18739B-3186-42B0-AA33-B60FBB208E20}" dt="2024-03-06T18:17:06.764" v="865" actId="2696"/>
        <pc:sldMkLst>
          <pc:docMk/>
          <pc:sldMk cId="2778571632" sldId="2147478939"/>
        </pc:sldMkLst>
        <pc:spChg chg="mod">
          <ac:chgData name="Engel, Troy [JJCUS NON-J&amp;J]" userId="eab39b0b-0874-4185-ab60-88940d3b579c" providerId="ADAL" clId="{CA18739B-3186-42B0-AA33-B60FBB208E20}" dt="2024-03-06T18:15:25.873" v="762" actId="14100"/>
          <ac:spMkLst>
            <pc:docMk/>
            <pc:sldMk cId="2778571632" sldId="2147478939"/>
            <ac:spMk id="4" creationId="{E9BD7713-132D-F913-FA8E-C87DC519B6DB}"/>
          </ac:spMkLst>
        </pc:spChg>
        <pc:spChg chg="mod">
          <ac:chgData name="Engel, Troy [JJCUS NON-J&amp;J]" userId="eab39b0b-0874-4185-ab60-88940d3b579c" providerId="ADAL" clId="{CA18739B-3186-42B0-AA33-B60FBB208E20}" dt="2024-03-05T21:16:38.427" v="22" actId="20577"/>
          <ac:spMkLst>
            <pc:docMk/>
            <pc:sldMk cId="2778571632" sldId="2147478939"/>
            <ac:spMk id="7" creationId="{F4F12FD6-E5D1-007B-C457-9166227AF0FD}"/>
          </ac:spMkLst>
        </pc:spChg>
      </pc:sldChg>
      <pc:sldChg chg="modSp del mod">
        <pc:chgData name="Engel, Troy [JJCUS NON-J&amp;J]" userId="eab39b0b-0874-4185-ab60-88940d3b579c" providerId="ADAL" clId="{CA18739B-3186-42B0-AA33-B60FBB208E20}" dt="2024-03-06T18:19:51.608" v="962" actId="2696"/>
        <pc:sldMkLst>
          <pc:docMk/>
          <pc:sldMk cId="1838741235" sldId="2147478940"/>
        </pc:sldMkLst>
        <pc:spChg chg="mod">
          <ac:chgData name="Engel, Troy [JJCUS NON-J&amp;J]" userId="eab39b0b-0874-4185-ab60-88940d3b579c" providerId="ADAL" clId="{CA18739B-3186-42B0-AA33-B60FBB208E20}" dt="2024-03-06T18:18:21.116" v="873" actId="14100"/>
          <ac:spMkLst>
            <pc:docMk/>
            <pc:sldMk cId="1838741235" sldId="2147478940"/>
            <ac:spMk id="4" creationId="{F9D6402E-3871-D1F3-3F95-9D83C83E0B1C}"/>
          </ac:spMkLst>
        </pc:spChg>
        <pc:spChg chg="mod">
          <ac:chgData name="Engel, Troy [JJCUS NON-J&amp;J]" userId="eab39b0b-0874-4185-ab60-88940d3b579c" providerId="ADAL" clId="{CA18739B-3186-42B0-AA33-B60FBB208E20}" dt="2024-03-05T21:16:45.036" v="25" actId="20577"/>
          <ac:spMkLst>
            <pc:docMk/>
            <pc:sldMk cId="1838741235" sldId="2147478940"/>
            <ac:spMk id="9" creationId="{AD3E2B7B-0951-320D-81C1-0B09D26628DA}"/>
          </ac:spMkLst>
        </pc:spChg>
        <pc:picChg chg="mod">
          <ac:chgData name="Engel, Troy [JJCUS NON-J&amp;J]" userId="eab39b0b-0874-4185-ab60-88940d3b579c" providerId="ADAL" clId="{CA18739B-3186-42B0-AA33-B60FBB208E20}" dt="2024-03-06T18:18:15.916" v="872" actId="1076"/>
          <ac:picMkLst>
            <pc:docMk/>
            <pc:sldMk cId="1838741235" sldId="2147478940"/>
            <ac:picMk id="23" creationId="{44562F74-D49D-DF7A-77DF-80AA64E7076A}"/>
          </ac:picMkLst>
        </pc:picChg>
      </pc:sldChg>
      <pc:sldChg chg="modSp mod">
        <pc:chgData name="Engel, Troy [JJCUS NON-J&amp;J]" userId="eab39b0b-0874-4185-ab60-88940d3b579c" providerId="ADAL" clId="{CA18739B-3186-42B0-AA33-B60FBB208E20}" dt="2024-03-06T18:34:19.550" v="985" actId="1076"/>
        <pc:sldMkLst>
          <pc:docMk/>
          <pc:sldMk cId="371138866" sldId="2147478941"/>
        </pc:sldMkLst>
        <pc:picChg chg="mod modCrop">
          <ac:chgData name="Engel, Troy [JJCUS NON-J&amp;J]" userId="eab39b0b-0874-4185-ab60-88940d3b579c" providerId="ADAL" clId="{CA18739B-3186-42B0-AA33-B60FBB208E20}" dt="2024-03-06T18:34:19.550" v="985" actId="1076"/>
          <ac:picMkLst>
            <pc:docMk/>
            <pc:sldMk cId="371138866" sldId="2147478941"/>
            <ac:picMk id="5" creationId="{21F096DF-81E1-980F-96EA-0CC6B4CAFC58}"/>
          </ac:picMkLst>
        </pc:picChg>
      </pc:sldChg>
      <pc:sldChg chg="addSp delSp modSp mod">
        <pc:chgData name="Engel, Troy [JJCUS NON-J&amp;J]" userId="eab39b0b-0874-4185-ab60-88940d3b579c" providerId="ADAL" clId="{CA18739B-3186-42B0-AA33-B60FBB208E20}" dt="2024-03-06T18:02:11.475" v="475" actId="1035"/>
        <pc:sldMkLst>
          <pc:docMk/>
          <pc:sldMk cId="1565214553" sldId="2147478944"/>
        </pc:sldMkLst>
        <pc:spChg chg="del">
          <ac:chgData name="Engel, Troy [JJCUS NON-J&amp;J]" userId="eab39b0b-0874-4185-ab60-88940d3b579c" providerId="ADAL" clId="{CA18739B-3186-42B0-AA33-B60FBB208E20}" dt="2024-03-06T17:57:45.957" v="371" actId="478"/>
          <ac:spMkLst>
            <pc:docMk/>
            <pc:sldMk cId="1565214553" sldId="2147478944"/>
            <ac:spMk id="3" creationId="{F8B21635-44DF-7705-B71A-53B82E9971DB}"/>
          </ac:spMkLst>
        </pc:spChg>
        <pc:spChg chg="add mod">
          <ac:chgData name="Engel, Troy [JJCUS NON-J&amp;J]" userId="eab39b0b-0874-4185-ab60-88940d3b579c" providerId="ADAL" clId="{CA18739B-3186-42B0-AA33-B60FBB208E20}" dt="2024-03-06T18:00:39.917" v="462" actId="1038"/>
          <ac:spMkLst>
            <pc:docMk/>
            <pc:sldMk cId="1565214553" sldId="2147478944"/>
            <ac:spMk id="5" creationId="{A3EAA2F2-BBAF-B2CC-2587-FC83B9B52F5B}"/>
          </ac:spMkLst>
        </pc:spChg>
        <pc:spChg chg="add mod">
          <ac:chgData name="Engel, Troy [JJCUS NON-J&amp;J]" userId="eab39b0b-0874-4185-ab60-88940d3b579c" providerId="ADAL" clId="{CA18739B-3186-42B0-AA33-B60FBB208E20}" dt="2024-03-06T17:59:10.827" v="436" actId="1035"/>
          <ac:spMkLst>
            <pc:docMk/>
            <pc:sldMk cId="1565214553" sldId="2147478944"/>
            <ac:spMk id="6" creationId="{720F41FB-CF23-5237-1314-A5752C0E4A75}"/>
          </ac:spMkLst>
        </pc:spChg>
        <pc:spChg chg="add mod">
          <ac:chgData name="Engel, Troy [JJCUS NON-J&amp;J]" userId="eab39b0b-0874-4185-ab60-88940d3b579c" providerId="ADAL" clId="{CA18739B-3186-42B0-AA33-B60FBB208E20}" dt="2024-03-06T18:00:16.323" v="454" actId="1035"/>
          <ac:spMkLst>
            <pc:docMk/>
            <pc:sldMk cId="1565214553" sldId="2147478944"/>
            <ac:spMk id="7" creationId="{8C7B4F98-1281-EAC1-2AE1-1C3B696EE12B}"/>
          </ac:spMkLst>
        </pc:spChg>
        <pc:spChg chg="add mod">
          <ac:chgData name="Engel, Troy [JJCUS NON-J&amp;J]" userId="eab39b0b-0874-4185-ab60-88940d3b579c" providerId="ADAL" clId="{CA18739B-3186-42B0-AA33-B60FBB208E20}" dt="2024-03-06T17:59:10.827" v="436" actId="1035"/>
          <ac:spMkLst>
            <pc:docMk/>
            <pc:sldMk cId="1565214553" sldId="2147478944"/>
            <ac:spMk id="8" creationId="{06036A17-C6CE-7C04-0273-4E30CE6F4161}"/>
          </ac:spMkLst>
        </pc:spChg>
        <pc:spChg chg="add mod">
          <ac:chgData name="Engel, Troy [JJCUS NON-J&amp;J]" userId="eab39b0b-0874-4185-ab60-88940d3b579c" providerId="ADAL" clId="{CA18739B-3186-42B0-AA33-B60FBB208E20}" dt="2024-03-06T18:00:16.323" v="454" actId="1035"/>
          <ac:spMkLst>
            <pc:docMk/>
            <pc:sldMk cId="1565214553" sldId="2147478944"/>
            <ac:spMk id="9" creationId="{17D18D43-95BA-6664-95CD-7D6F1A02E18E}"/>
          </ac:spMkLst>
        </pc:spChg>
        <pc:spChg chg="del">
          <ac:chgData name="Engel, Troy [JJCUS NON-J&amp;J]" userId="eab39b0b-0874-4185-ab60-88940d3b579c" providerId="ADAL" clId="{CA18739B-3186-42B0-AA33-B60FBB208E20}" dt="2024-03-06T17:57:45.957" v="371" actId="478"/>
          <ac:spMkLst>
            <pc:docMk/>
            <pc:sldMk cId="1565214553" sldId="2147478944"/>
            <ac:spMk id="12" creationId="{417D7B4E-2C60-5DB7-873F-FD16815ABA7C}"/>
          </ac:spMkLst>
        </pc:spChg>
        <pc:spChg chg="add mod">
          <ac:chgData name="Engel, Troy [JJCUS NON-J&amp;J]" userId="eab39b0b-0874-4185-ab60-88940d3b579c" providerId="ADAL" clId="{CA18739B-3186-42B0-AA33-B60FBB208E20}" dt="2024-03-06T18:02:11.475" v="475" actId="1035"/>
          <ac:spMkLst>
            <pc:docMk/>
            <pc:sldMk cId="1565214553" sldId="2147478944"/>
            <ac:spMk id="13" creationId="{0E4440E6-5407-9CDC-A54B-0562DF3A90E6}"/>
          </ac:spMkLst>
        </pc:spChg>
        <pc:picChg chg="add mod">
          <ac:chgData name="Engel, Troy [JJCUS NON-J&amp;J]" userId="eab39b0b-0874-4185-ab60-88940d3b579c" providerId="ADAL" clId="{CA18739B-3186-42B0-AA33-B60FBB208E20}" dt="2024-03-06T17:59:10.827" v="436" actId="1035"/>
          <ac:picMkLst>
            <pc:docMk/>
            <pc:sldMk cId="1565214553" sldId="2147478944"/>
            <ac:picMk id="10" creationId="{D3879D60-891C-EB53-9547-3B937824FB68}"/>
          </ac:picMkLst>
        </pc:picChg>
        <pc:picChg chg="add mod">
          <ac:chgData name="Engel, Troy [JJCUS NON-J&amp;J]" userId="eab39b0b-0874-4185-ab60-88940d3b579c" providerId="ADAL" clId="{CA18739B-3186-42B0-AA33-B60FBB208E20}" dt="2024-03-06T17:59:10.827" v="436" actId="1035"/>
          <ac:picMkLst>
            <pc:docMk/>
            <pc:sldMk cId="1565214553" sldId="2147478944"/>
            <ac:picMk id="11" creationId="{146DD233-E565-6C28-565E-69CF97DD149C}"/>
          </ac:picMkLst>
        </pc:picChg>
      </pc:sldChg>
      <pc:sldChg chg="addSp delSp modSp add mod">
        <pc:chgData name="Engel, Troy [JJCUS NON-J&amp;J]" userId="eab39b0b-0874-4185-ab60-88940d3b579c" providerId="ADAL" clId="{CA18739B-3186-42B0-AA33-B60FBB208E20}" dt="2024-03-06T18:05:31.418" v="550" actId="1036"/>
        <pc:sldMkLst>
          <pc:docMk/>
          <pc:sldMk cId="1124344272" sldId="2147478945"/>
        </pc:sldMkLst>
        <pc:spChg chg="add mod">
          <ac:chgData name="Engel, Troy [JJCUS NON-J&amp;J]" userId="eab39b0b-0874-4185-ab60-88940d3b579c" providerId="ADAL" clId="{CA18739B-3186-42B0-AA33-B60FBB208E20}" dt="2024-03-06T18:05:05.355" v="535" actId="14100"/>
          <ac:spMkLst>
            <pc:docMk/>
            <pc:sldMk cId="1124344272" sldId="2147478945"/>
            <ac:spMk id="3" creationId="{61CFA090-5621-E018-C002-AAE58CE6591F}"/>
          </ac:spMkLst>
        </pc:spChg>
        <pc:spChg chg="del">
          <ac:chgData name="Engel, Troy [JJCUS NON-J&amp;J]" userId="eab39b0b-0874-4185-ab60-88940d3b579c" providerId="ADAL" clId="{CA18739B-3186-42B0-AA33-B60FBB208E20}" dt="2024-03-06T18:03:56.714" v="479" actId="478"/>
          <ac:spMkLst>
            <pc:docMk/>
            <pc:sldMk cId="1124344272" sldId="2147478945"/>
            <ac:spMk id="5" creationId="{F8AD776A-E1C1-D937-D8F1-7A66D1D28EFD}"/>
          </ac:spMkLst>
        </pc:spChg>
        <pc:spChg chg="del">
          <ac:chgData name="Engel, Troy [JJCUS NON-J&amp;J]" userId="eab39b0b-0874-4185-ab60-88940d3b579c" providerId="ADAL" clId="{CA18739B-3186-42B0-AA33-B60FBB208E20}" dt="2024-03-06T18:03:56.714" v="479" actId="478"/>
          <ac:spMkLst>
            <pc:docMk/>
            <pc:sldMk cId="1124344272" sldId="2147478945"/>
            <ac:spMk id="6" creationId="{4D856315-E571-FCDB-6226-90A4A815F4C4}"/>
          </ac:spMkLst>
        </pc:spChg>
        <pc:spChg chg="del">
          <ac:chgData name="Engel, Troy [JJCUS NON-J&amp;J]" userId="eab39b0b-0874-4185-ab60-88940d3b579c" providerId="ADAL" clId="{CA18739B-3186-42B0-AA33-B60FBB208E20}" dt="2024-03-06T18:03:56.714" v="479" actId="478"/>
          <ac:spMkLst>
            <pc:docMk/>
            <pc:sldMk cId="1124344272" sldId="2147478945"/>
            <ac:spMk id="7" creationId="{82E3CCFA-94B6-5BBF-24E7-EAD6E1405DF1}"/>
          </ac:spMkLst>
        </pc:spChg>
        <pc:spChg chg="del">
          <ac:chgData name="Engel, Troy [JJCUS NON-J&amp;J]" userId="eab39b0b-0874-4185-ab60-88940d3b579c" providerId="ADAL" clId="{CA18739B-3186-42B0-AA33-B60FBB208E20}" dt="2024-03-06T18:03:56.714" v="479" actId="478"/>
          <ac:spMkLst>
            <pc:docMk/>
            <pc:sldMk cId="1124344272" sldId="2147478945"/>
            <ac:spMk id="8" creationId="{37946B78-D16A-3ACB-9CA9-9A61B96BFE60}"/>
          </ac:spMkLst>
        </pc:spChg>
        <pc:spChg chg="del">
          <ac:chgData name="Engel, Troy [JJCUS NON-J&amp;J]" userId="eab39b0b-0874-4185-ab60-88940d3b579c" providerId="ADAL" clId="{CA18739B-3186-42B0-AA33-B60FBB208E20}" dt="2024-03-06T18:03:56.714" v="479" actId="478"/>
          <ac:spMkLst>
            <pc:docMk/>
            <pc:sldMk cId="1124344272" sldId="2147478945"/>
            <ac:spMk id="9" creationId="{1E028E1F-A4E4-8A18-AD3C-BA7DE9ECC033}"/>
          </ac:spMkLst>
        </pc:spChg>
        <pc:spChg chg="add mod">
          <ac:chgData name="Engel, Troy [JJCUS NON-J&amp;J]" userId="eab39b0b-0874-4185-ab60-88940d3b579c" providerId="ADAL" clId="{CA18739B-3186-42B0-AA33-B60FBB208E20}" dt="2024-03-06T18:05:31.418" v="550" actId="1036"/>
          <ac:spMkLst>
            <pc:docMk/>
            <pc:sldMk cId="1124344272" sldId="2147478945"/>
            <ac:spMk id="12" creationId="{A9765AB0-6E07-2714-A7EF-F85C0304E997}"/>
          </ac:spMkLst>
        </pc:spChg>
        <pc:spChg chg="add mod">
          <ac:chgData name="Engel, Troy [JJCUS NON-J&amp;J]" userId="eab39b0b-0874-4185-ab60-88940d3b579c" providerId="ADAL" clId="{CA18739B-3186-42B0-AA33-B60FBB208E20}" dt="2024-03-06T18:04:34.922" v="517" actId="1036"/>
          <ac:spMkLst>
            <pc:docMk/>
            <pc:sldMk cId="1124344272" sldId="2147478945"/>
            <ac:spMk id="14" creationId="{4BEA5C3B-08C1-90C5-FDD2-3CC7322BF1EC}"/>
          </ac:spMkLst>
        </pc:spChg>
        <pc:spChg chg="add mod">
          <ac:chgData name="Engel, Troy [JJCUS NON-J&amp;J]" userId="eab39b0b-0874-4185-ab60-88940d3b579c" providerId="ADAL" clId="{CA18739B-3186-42B0-AA33-B60FBB208E20}" dt="2024-03-06T18:05:31.418" v="550" actId="1036"/>
          <ac:spMkLst>
            <pc:docMk/>
            <pc:sldMk cId="1124344272" sldId="2147478945"/>
            <ac:spMk id="15" creationId="{2257AE14-54D3-7141-6B46-EE9FAD967E1D}"/>
          </ac:spMkLst>
        </pc:spChg>
        <pc:spChg chg="add mod">
          <ac:chgData name="Engel, Troy [JJCUS NON-J&amp;J]" userId="eab39b0b-0874-4185-ab60-88940d3b579c" providerId="ADAL" clId="{CA18739B-3186-42B0-AA33-B60FBB208E20}" dt="2024-03-06T18:05:31.418" v="550" actId="1036"/>
          <ac:spMkLst>
            <pc:docMk/>
            <pc:sldMk cId="1124344272" sldId="2147478945"/>
            <ac:spMk id="16" creationId="{5FDBB130-7649-0BEF-CD9C-EC1ECDB662E2}"/>
          </ac:spMkLst>
        </pc:spChg>
        <pc:picChg chg="del">
          <ac:chgData name="Engel, Troy [JJCUS NON-J&amp;J]" userId="eab39b0b-0874-4185-ab60-88940d3b579c" providerId="ADAL" clId="{CA18739B-3186-42B0-AA33-B60FBB208E20}" dt="2024-03-06T18:03:56.714" v="479" actId="478"/>
          <ac:picMkLst>
            <pc:docMk/>
            <pc:sldMk cId="1124344272" sldId="2147478945"/>
            <ac:picMk id="10" creationId="{4B1C1CDF-4786-C595-3BFB-1377D903B743}"/>
          </ac:picMkLst>
        </pc:picChg>
        <pc:picChg chg="del">
          <ac:chgData name="Engel, Troy [JJCUS NON-J&amp;J]" userId="eab39b0b-0874-4185-ab60-88940d3b579c" providerId="ADAL" clId="{CA18739B-3186-42B0-AA33-B60FBB208E20}" dt="2024-03-06T18:03:56.714" v="479" actId="478"/>
          <ac:picMkLst>
            <pc:docMk/>
            <pc:sldMk cId="1124344272" sldId="2147478945"/>
            <ac:picMk id="11" creationId="{EA01D618-7B9F-94E6-547F-963F2B5881FA}"/>
          </ac:picMkLst>
        </pc:picChg>
        <pc:picChg chg="add mod">
          <ac:chgData name="Engel, Troy [JJCUS NON-J&amp;J]" userId="eab39b0b-0874-4185-ab60-88940d3b579c" providerId="ADAL" clId="{CA18739B-3186-42B0-AA33-B60FBB208E20}" dt="2024-03-06T18:05:31.418" v="550" actId="1036"/>
          <ac:picMkLst>
            <pc:docMk/>
            <pc:sldMk cId="1124344272" sldId="2147478945"/>
            <ac:picMk id="17" creationId="{19D410A1-1FF6-D311-651B-E122B5F77286}"/>
          </ac:picMkLst>
        </pc:picChg>
        <pc:picChg chg="add mod">
          <ac:chgData name="Engel, Troy [JJCUS NON-J&amp;J]" userId="eab39b0b-0874-4185-ab60-88940d3b579c" providerId="ADAL" clId="{CA18739B-3186-42B0-AA33-B60FBB208E20}" dt="2024-03-06T18:04:46.902" v="518" actId="14100"/>
          <ac:picMkLst>
            <pc:docMk/>
            <pc:sldMk cId="1124344272" sldId="2147478945"/>
            <ac:picMk id="18" creationId="{F5598614-2F5D-E1F8-04BA-E7087BDE989C}"/>
          </ac:picMkLst>
        </pc:picChg>
      </pc:sldChg>
      <pc:sldChg chg="add del ord">
        <pc:chgData name="Engel, Troy [JJCUS NON-J&amp;J]" userId="eab39b0b-0874-4185-ab60-88940d3b579c" providerId="ADAL" clId="{CA18739B-3186-42B0-AA33-B60FBB208E20}" dt="2024-03-06T18:03:22.566" v="477" actId="47"/>
        <pc:sldMkLst>
          <pc:docMk/>
          <pc:sldMk cId="1248438609" sldId="2147478945"/>
        </pc:sldMkLst>
      </pc:sldChg>
      <pc:sldChg chg="addSp delSp modSp add mod">
        <pc:chgData name="Engel, Troy [JJCUS NON-J&amp;J]" userId="eab39b0b-0874-4185-ab60-88940d3b579c" providerId="ADAL" clId="{CA18739B-3186-42B0-AA33-B60FBB208E20}" dt="2024-03-06T18:09:09.809" v="628" actId="14100"/>
        <pc:sldMkLst>
          <pc:docMk/>
          <pc:sldMk cId="1561841489" sldId="2147478946"/>
        </pc:sldMkLst>
        <pc:spChg chg="del">
          <ac:chgData name="Engel, Troy [JJCUS NON-J&amp;J]" userId="eab39b0b-0874-4185-ab60-88940d3b579c" providerId="ADAL" clId="{CA18739B-3186-42B0-AA33-B60FBB208E20}" dt="2024-03-06T18:06:37.838" v="553" actId="478"/>
          <ac:spMkLst>
            <pc:docMk/>
            <pc:sldMk cId="1561841489" sldId="2147478946"/>
            <ac:spMk id="3" creationId="{FEA01281-0765-6ED2-20E5-AA1A62C28B1C}"/>
          </ac:spMkLst>
        </pc:spChg>
        <pc:spChg chg="add mod">
          <ac:chgData name="Engel, Troy [JJCUS NON-J&amp;J]" userId="eab39b0b-0874-4185-ab60-88940d3b579c" providerId="ADAL" clId="{CA18739B-3186-42B0-AA33-B60FBB208E20}" dt="2024-03-06T18:09:09.809" v="628" actId="14100"/>
          <ac:spMkLst>
            <pc:docMk/>
            <pc:sldMk cId="1561841489" sldId="2147478946"/>
            <ac:spMk id="5" creationId="{D1B2711E-67C0-ACC6-745C-818D28BCABCA}"/>
          </ac:spMkLst>
        </pc:spChg>
        <pc:spChg chg="add mod">
          <ac:chgData name="Engel, Troy [JJCUS NON-J&amp;J]" userId="eab39b0b-0874-4185-ab60-88940d3b579c" providerId="ADAL" clId="{CA18739B-3186-42B0-AA33-B60FBB208E20}" dt="2024-03-06T18:07:48.401" v="611" actId="1036"/>
          <ac:spMkLst>
            <pc:docMk/>
            <pc:sldMk cId="1561841489" sldId="2147478946"/>
            <ac:spMk id="6" creationId="{19019227-8310-E92E-3BFE-E61B476B841A}"/>
          </ac:spMkLst>
        </pc:spChg>
        <pc:spChg chg="add mod">
          <ac:chgData name="Engel, Troy [JJCUS NON-J&amp;J]" userId="eab39b0b-0874-4185-ab60-88940d3b579c" providerId="ADAL" clId="{CA18739B-3186-42B0-AA33-B60FBB208E20}" dt="2024-03-06T18:07:48.401" v="611" actId="1036"/>
          <ac:spMkLst>
            <pc:docMk/>
            <pc:sldMk cId="1561841489" sldId="2147478946"/>
            <ac:spMk id="7" creationId="{B936D903-C14C-2982-D6C0-92EE06C580DE}"/>
          </ac:spMkLst>
        </pc:spChg>
        <pc:spChg chg="add mod">
          <ac:chgData name="Engel, Troy [JJCUS NON-J&amp;J]" userId="eab39b0b-0874-4185-ab60-88940d3b579c" providerId="ADAL" clId="{CA18739B-3186-42B0-AA33-B60FBB208E20}" dt="2024-03-06T18:07:48.401" v="611" actId="1036"/>
          <ac:spMkLst>
            <pc:docMk/>
            <pc:sldMk cId="1561841489" sldId="2147478946"/>
            <ac:spMk id="8" creationId="{5BE278B7-1764-96FA-6DF5-588CA25604BD}"/>
          </ac:spMkLst>
        </pc:spChg>
        <pc:spChg chg="add mod">
          <ac:chgData name="Engel, Troy [JJCUS NON-J&amp;J]" userId="eab39b0b-0874-4185-ab60-88940d3b579c" providerId="ADAL" clId="{CA18739B-3186-42B0-AA33-B60FBB208E20}" dt="2024-03-06T18:07:48.401" v="611" actId="1036"/>
          <ac:spMkLst>
            <pc:docMk/>
            <pc:sldMk cId="1561841489" sldId="2147478946"/>
            <ac:spMk id="9" creationId="{C54F1658-1981-FFC4-D1BF-5AC2E050EDEB}"/>
          </ac:spMkLst>
        </pc:spChg>
        <pc:spChg chg="del">
          <ac:chgData name="Engel, Troy [JJCUS NON-J&amp;J]" userId="eab39b0b-0874-4185-ab60-88940d3b579c" providerId="ADAL" clId="{CA18739B-3186-42B0-AA33-B60FBB208E20}" dt="2024-03-06T18:06:37.838" v="553" actId="478"/>
          <ac:spMkLst>
            <pc:docMk/>
            <pc:sldMk cId="1561841489" sldId="2147478946"/>
            <ac:spMk id="12" creationId="{A200AB8D-D6A5-29DF-68DB-29DA21E97FA2}"/>
          </ac:spMkLst>
        </pc:spChg>
        <pc:spChg chg="del">
          <ac:chgData name="Engel, Troy [JJCUS NON-J&amp;J]" userId="eab39b0b-0874-4185-ab60-88940d3b579c" providerId="ADAL" clId="{CA18739B-3186-42B0-AA33-B60FBB208E20}" dt="2024-03-06T18:06:37.838" v="553" actId="478"/>
          <ac:spMkLst>
            <pc:docMk/>
            <pc:sldMk cId="1561841489" sldId="2147478946"/>
            <ac:spMk id="14" creationId="{8FEE2248-0D06-4EE4-5C16-442FA9063BEC}"/>
          </ac:spMkLst>
        </pc:spChg>
        <pc:spChg chg="del">
          <ac:chgData name="Engel, Troy [JJCUS NON-J&amp;J]" userId="eab39b0b-0874-4185-ab60-88940d3b579c" providerId="ADAL" clId="{CA18739B-3186-42B0-AA33-B60FBB208E20}" dt="2024-03-06T18:06:42.974" v="554" actId="478"/>
          <ac:spMkLst>
            <pc:docMk/>
            <pc:sldMk cId="1561841489" sldId="2147478946"/>
            <ac:spMk id="15" creationId="{61C13199-9AB7-215F-B5F2-D0F311E28FD7}"/>
          </ac:spMkLst>
        </pc:spChg>
        <pc:spChg chg="del">
          <ac:chgData name="Engel, Troy [JJCUS NON-J&amp;J]" userId="eab39b0b-0874-4185-ab60-88940d3b579c" providerId="ADAL" clId="{CA18739B-3186-42B0-AA33-B60FBB208E20}" dt="2024-03-06T18:06:37.838" v="553" actId="478"/>
          <ac:spMkLst>
            <pc:docMk/>
            <pc:sldMk cId="1561841489" sldId="2147478946"/>
            <ac:spMk id="16" creationId="{06B9A7C1-687D-8859-755C-83826DAAE2A7}"/>
          </ac:spMkLst>
        </pc:spChg>
        <pc:picChg chg="add mod">
          <ac:chgData name="Engel, Troy [JJCUS NON-J&amp;J]" userId="eab39b0b-0874-4185-ab60-88940d3b579c" providerId="ADAL" clId="{CA18739B-3186-42B0-AA33-B60FBB208E20}" dt="2024-03-06T18:07:48.401" v="611" actId="1036"/>
          <ac:picMkLst>
            <pc:docMk/>
            <pc:sldMk cId="1561841489" sldId="2147478946"/>
            <ac:picMk id="10" creationId="{7A8192D2-F92C-B361-4EB8-4E7C1EF53F05}"/>
          </ac:picMkLst>
        </pc:picChg>
        <pc:picChg chg="add mod">
          <ac:chgData name="Engel, Troy [JJCUS NON-J&amp;J]" userId="eab39b0b-0874-4185-ab60-88940d3b579c" providerId="ADAL" clId="{CA18739B-3186-42B0-AA33-B60FBB208E20}" dt="2024-03-06T18:07:48.401" v="611" actId="1036"/>
          <ac:picMkLst>
            <pc:docMk/>
            <pc:sldMk cId="1561841489" sldId="2147478946"/>
            <ac:picMk id="11" creationId="{211517A2-A058-3B7D-929F-7919FF69DAB0}"/>
          </ac:picMkLst>
        </pc:picChg>
        <pc:picChg chg="del">
          <ac:chgData name="Engel, Troy [JJCUS NON-J&amp;J]" userId="eab39b0b-0874-4185-ab60-88940d3b579c" providerId="ADAL" clId="{CA18739B-3186-42B0-AA33-B60FBB208E20}" dt="2024-03-06T18:06:37.838" v="553" actId="478"/>
          <ac:picMkLst>
            <pc:docMk/>
            <pc:sldMk cId="1561841489" sldId="2147478946"/>
            <ac:picMk id="17" creationId="{1293775B-B1BD-7D37-3DB5-974C253B8B23}"/>
          </ac:picMkLst>
        </pc:picChg>
        <pc:picChg chg="del">
          <ac:chgData name="Engel, Troy [JJCUS NON-J&amp;J]" userId="eab39b0b-0874-4185-ab60-88940d3b579c" providerId="ADAL" clId="{CA18739B-3186-42B0-AA33-B60FBB208E20}" dt="2024-03-06T18:06:37.838" v="553" actId="478"/>
          <ac:picMkLst>
            <pc:docMk/>
            <pc:sldMk cId="1561841489" sldId="2147478946"/>
            <ac:picMk id="18" creationId="{042AD5DD-A02C-897B-B028-92BE1CED3877}"/>
          </ac:picMkLst>
        </pc:picChg>
        <pc:picChg chg="add mod">
          <ac:chgData name="Engel, Troy [JJCUS NON-J&amp;J]" userId="eab39b0b-0874-4185-ab60-88940d3b579c" providerId="ADAL" clId="{CA18739B-3186-42B0-AA33-B60FBB208E20}" dt="2024-03-06T18:07:53.934" v="612" actId="1076"/>
          <ac:picMkLst>
            <pc:docMk/>
            <pc:sldMk cId="1561841489" sldId="2147478946"/>
            <ac:picMk id="19" creationId="{61AAC597-6516-C72F-ECB7-C37458559722}"/>
          </ac:picMkLst>
        </pc:picChg>
        <pc:picChg chg="add mod">
          <ac:chgData name="Engel, Troy [JJCUS NON-J&amp;J]" userId="eab39b0b-0874-4185-ab60-88940d3b579c" providerId="ADAL" clId="{CA18739B-3186-42B0-AA33-B60FBB208E20}" dt="2024-03-06T18:08:01.950" v="614" actId="1076"/>
          <ac:picMkLst>
            <pc:docMk/>
            <pc:sldMk cId="1561841489" sldId="2147478946"/>
            <ac:picMk id="20" creationId="{2664E573-A3D1-DFEC-8D07-C70932E74C18}"/>
          </ac:picMkLst>
        </pc:picChg>
        <pc:picChg chg="add mod">
          <ac:chgData name="Engel, Troy [JJCUS NON-J&amp;J]" userId="eab39b0b-0874-4185-ab60-88940d3b579c" providerId="ADAL" clId="{CA18739B-3186-42B0-AA33-B60FBB208E20}" dt="2024-03-06T18:07:48.401" v="611" actId="1036"/>
          <ac:picMkLst>
            <pc:docMk/>
            <pc:sldMk cId="1561841489" sldId="2147478946"/>
            <ac:picMk id="21" creationId="{6546D7E7-D794-96B6-DDB7-BF1650895B26}"/>
          </ac:picMkLst>
        </pc:picChg>
        <pc:picChg chg="add mod">
          <ac:chgData name="Engel, Troy [JJCUS NON-J&amp;J]" userId="eab39b0b-0874-4185-ab60-88940d3b579c" providerId="ADAL" clId="{CA18739B-3186-42B0-AA33-B60FBB208E20}" dt="2024-03-06T18:07:48.401" v="611" actId="1036"/>
          <ac:picMkLst>
            <pc:docMk/>
            <pc:sldMk cId="1561841489" sldId="2147478946"/>
            <ac:picMk id="22" creationId="{AD1EEC96-820D-7CA4-5BDA-98CAEFCDE603}"/>
          </ac:picMkLst>
        </pc:picChg>
        <pc:picChg chg="add mod">
          <ac:chgData name="Engel, Troy [JJCUS NON-J&amp;J]" userId="eab39b0b-0874-4185-ab60-88940d3b579c" providerId="ADAL" clId="{CA18739B-3186-42B0-AA33-B60FBB208E20}" dt="2024-03-06T18:07:48.401" v="611" actId="1036"/>
          <ac:picMkLst>
            <pc:docMk/>
            <pc:sldMk cId="1561841489" sldId="2147478946"/>
            <ac:picMk id="23" creationId="{07A9307A-D289-719C-CB11-958FEBD8914D}"/>
          </ac:picMkLst>
        </pc:picChg>
        <pc:picChg chg="add mod">
          <ac:chgData name="Engel, Troy [JJCUS NON-J&amp;J]" userId="eab39b0b-0874-4185-ab60-88940d3b579c" providerId="ADAL" clId="{CA18739B-3186-42B0-AA33-B60FBB208E20}" dt="2024-03-06T18:09:00.685" v="627" actId="1037"/>
          <ac:picMkLst>
            <pc:docMk/>
            <pc:sldMk cId="1561841489" sldId="2147478946"/>
            <ac:picMk id="24" creationId="{B936E412-0DF2-191B-11F2-9FC80995AFE5}"/>
          </ac:picMkLst>
        </pc:picChg>
        <pc:picChg chg="add mod">
          <ac:chgData name="Engel, Troy [JJCUS NON-J&amp;J]" userId="eab39b0b-0874-4185-ab60-88940d3b579c" providerId="ADAL" clId="{CA18739B-3186-42B0-AA33-B60FBB208E20}" dt="2024-03-06T18:08:48.278" v="622" actId="1076"/>
          <ac:picMkLst>
            <pc:docMk/>
            <pc:sldMk cId="1561841489" sldId="2147478946"/>
            <ac:picMk id="25" creationId="{D47467C1-6935-FF9F-34DD-4C35B95AD883}"/>
          </ac:picMkLst>
        </pc:picChg>
      </pc:sldChg>
      <pc:sldChg chg="addSp delSp modSp add mod">
        <pc:chgData name="Engel, Troy [JJCUS NON-J&amp;J]" userId="eab39b0b-0874-4185-ab60-88940d3b579c" providerId="ADAL" clId="{CA18739B-3186-42B0-AA33-B60FBB208E20}" dt="2024-03-06T18:12:22.286" v="722" actId="14100"/>
        <pc:sldMkLst>
          <pc:docMk/>
          <pc:sldMk cId="1271585789" sldId="2147478947"/>
        </pc:sldMkLst>
        <pc:spChg chg="add mod">
          <ac:chgData name="Engel, Troy [JJCUS NON-J&amp;J]" userId="eab39b0b-0874-4185-ab60-88940d3b579c" providerId="ADAL" clId="{CA18739B-3186-42B0-AA33-B60FBB208E20}" dt="2024-03-06T18:12:22.286" v="722" actId="14100"/>
          <ac:spMkLst>
            <pc:docMk/>
            <pc:sldMk cId="1271585789" sldId="2147478947"/>
            <ac:spMk id="3" creationId="{F6B93DE7-5F55-8F69-662F-854E711CD1CA}"/>
          </ac:spMkLst>
        </pc:spChg>
        <pc:spChg chg="del">
          <ac:chgData name="Engel, Troy [JJCUS NON-J&amp;J]" userId="eab39b0b-0874-4185-ab60-88940d3b579c" providerId="ADAL" clId="{CA18739B-3186-42B0-AA33-B60FBB208E20}" dt="2024-03-06T18:10:32.795" v="631" actId="478"/>
          <ac:spMkLst>
            <pc:docMk/>
            <pc:sldMk cId="1271585789" sldId="2147478947"/>
            <ac:spMk id="5" creationId="{037EC870-D33E-D127-C2C0-01200CB159A9}"/>
          </ac:spMkLst>
        </pc:spChg>
        <pc:spChg chg="del">
          <ac:chgData name="Engel, Troy [JJCUS NON-J&amp;J]" userId="eab39b0b-0874-4185-ab60-88940d3b579c" providerId="ADAL" clId="{CA18739B-3186-42B0-AA33-B60FBB208E20}" dt="2024-03-06T18:10:32.795" v="631" actId="478"/>
          <ac:spMkLst>
            <pc:docMk/>
            <pc:sldMk cId="1271585789" sldId="2147478947"/>
            <ac:spMk id="6" creationId="{C0CF6953-36A1-5802-B61D-C8A39C56A678}"/>
          </ac:spMkLst>
        </pc:spChg>
        <pc:spChg chg="del">
          <ac:chgData name="Engel, Troy [JJCUS NON-J&amp;J]" userId="eab39b0b-0874-4185-ab60-88940d3b579c" providerId="ADAL" clId="{CA18739B-3186-42B0-AA33-B60FBB208E20}" dt="2024-03-06T18:10:32.795" v="631" actId="478"/>
          <ac:spMkLst>
            <pc:docMk/>
            <pc:sldMk cId="1271585789" sldId="2147478947"/>
            <ac:spMk id="7" creationId="{000086B4-5B71-E096-386A-68C80E5FFF53}"/>
          </ac:spMkLst>
        </pc:spChg>
        <pc:spChg chg="del">
          <ac:chgData name="Engel, Troy [JJCUS NON-J&amp;J]" userId="eab39b0b-0874-4185-ab60-88940d3b579c" providerId="ADAL" clId="{CA18739B-3186-42B0-AA33-B60FBB208E20}" dt="2024-03-06T18:10:32.795" v="631" actId="478"/>
          <ac:spMkLst>
            <pc:docMk/>
            <pc:sldMk cId="1271585789" sldId="2147478947"/>
            <ac:spMk id="8" creationId="{EE250C68-3D6A-290D-1F15-E21F05B9F2C6}"/>
          </ac:spMkLst>
        </pc:spChg>
        <pc:spChg chg="del">
          <ac:chgData name="Engel, Troy [JJCUS NON-J&amp;J]" userId="eab39b0b-0874-4185-ab60-88940d3b579c" providerId="ADAL" clId="{CA18739B-3186-42B0-AA33-B60FBB208E20}" dt="2024-03-06T18:10:32.795" v="631" actId="478"/>
          <ac:spMkLst>
            <pc:docMk/>
            <pc:sldMk cId="1271585789" sldId="2147478947"/>
            <ac:spMk id="9" creationId="{03597815-088D-5F25-B647-62C6BA23D6E6}"/>
          </ac:spMkLst>
        </pc:spChg>
        <pc:spChg chg="add mod">
          <ac:chgData name="Engel, Troy [JJCUS NON-J&amp;J]" userId="eab39b0b-0874-4185-ab60-88940d3b579c" providerId="ADAL" clId="{CA18739B-3186-42B0-AA33-B60FBB208E20}" dt="2024-03-06T18:12:03.292" v="719" actId="14100"/>
          <ac:spMkLst>
            <pc:docMk/>
            <pc:sldMk cId="1271585789" sldId="2147478947"/>
            <ac:spMk id="14" creationId="{3BF59C17-6389-DC0F-889C-C807337D5729}"/>
          </ac:spMkLst>
        </pc:spChg>
        <pc:spChg chg="add mod">
          <ac:chgData name="Engel, Troy [JJCUS NON-J&amp;J]" userId="eab39b0b-0874-4185-ab60-88940d3b579c" providerId="ADAL" clId="{CA18739B-3186-42B0-AA33-B60FBB208E20}" dt="2024-03-06T18:12:03.292" v="719" actId="14100"/>
          <ac:spMkLst>
            <pc:docMk/>
            <pc:sldMk cId="1271585789" sldId="2147478947"/>
            <ac:spMk id="15" creationId="{F1FC5B8E-4D31-2AEA-ABEA-2936B8086B11}"/>
          </ac:spMkLst>
        </pc:spChg>
        <pc:spChg chg="add mod">
          <ac:chgData name="Engel, Troy [JJCUS NON-J&amp;J]" userId="eab39b0b-0874-4185-ab60-88940d3b579c" providerId="ADAL" clId="{CA18739B-3186-42B0-AA33-B60FBB208E20}" dt="2024-03-06T18:12:03.292" v="719" actId="14100"/>
          <ac:spMkLst>
            <pc:docMk/>
            <pc:sldMk cId="1271585789" sldId="2147478947"/>
            <ac:spMk id="16" creationId="{BB951C3C-9901-B606-106A-6FFFDE17F9F8}"/>
          </ac:spMkLst>
        </pc:spChg>
        <pc:spChg chg="add mod">
          <ac:chgData name="Engel, Troy [JJCUS NON-J&amp;J]" userId="eab39b0b-0874-4185-ab60-88940d3b579c" providerId="ADAL" clId="{CA18739B-3186-42B0-AA33-B60FBB208E20}" dt="2024-03-06T18:12:08.553" v="720" actId="14100"/>
          <ac:spMkLst>
            <pc:docMk/>
            <pc:sldMk cId="1271585789" sldId="2147478947"/>
            <ac:spMk id="17" creationId="{419F4C5F-A03E-49A9-C323-FDBFBE015EA6}"/>
          </ac:spMkLst>
        </pc:spChg>
        <pc:graphicFrameChg chg="add mod">
          <ac:chgData name="Engel, Troy [JJCUS NON-J&amp;J]" userId="eab39b0b-0874-4185-ab60-88940d3b579c" providerId="ADAL" clId="{CA18739B-3186-42B0-AA33-B60FBB208E20}" dt="2024-03-06T18:12:08.553" v="720" actId="14100"/>
          <ac:graphicFrameMkLst>
            <pc:docMk/>
            <pc:sldMk cId="1271585789" sldId="2147478947"/>
            <ac:graphicFrameMk id="12" creationId="{1C954E44-736F-B1B7-FA4D-4402A889C0CD}"/>
          </ac:graphicFrameMkLst>
        </pc:graphicFrameChg>
        <pc:picChg chg="del">
          <ac:chgData name="Engel, Troy [JJCUS NON-J&amp;J]" userId="eab39b0b-0874-4185-ab60-88940d3b579c" providerId="ADAL" clId="{CA18739B-3186-42B0-AA33-B60FBB208E20}" dt="2024-03-06T18:10:32.795" v="631" actId="478"/>
          <ac:picMkLst>
            <pc:docMk/>
            <pc:sldMk cId="1271585789" sldId="2147478947"/>
            <ac:picMk id="10" creationId="{4922E497-6D1A-9492-9D25-862E11732894}"/>
          </ac:picMkLst>
        </pc:picChg>
        <pc:picChg chg="del">
          <ac:chgData name="Engel, Troy [JJCUS NON-J&amp;J]" userId="eab39b0b-0874-4185-ab60-88940d3b579c" providerId="ADAL" clId="{CA18739B-3186-42B0-AA33-B60FBB208E20}" dt="2024-03-06T18:10:32.795" v="631" actId="478"/>
          <ac:picMkLst>
            <pc:docMk/>
            <pc:sldMk cId="1271585789" sldId="2147478947"/>
            <ac:picMk id="11" creationId="{B32C5C22-FD01-2D6C-4EE3-D7C3D6E2C99C}"/>
          </ac:picMkLst>
        </pc:picChg>
        <pc:picChg chg="add mod">
          <ac:chgData name="Engel, Troy [JJCUS NON-J&amp;J]" userId="eab39b0b-0874-4185-ab60-88940d3b579c" providerId="ADAL" clId="{CA18739B-3186-42B0-AA33-B60FBB208E20}" dt="2024-03-06T18:12:08.553" v="720" actId="14100"/>
          <ac:picMkLst>
            <pc:docMk/>
            <pc:sldMk cId="1271585789" sldId="2147478947"/>
            <ac:picMk id="18" creationId="{5D774B9F-00A1-0CDE-70A7-C456509ABD11}"/>
          </ac:picMkLst>
        </pc:picChg>
        <pc:picChg chg="del">
          <ac:chgData name="Engel, Troy [JJCUS NON-J&amp;J]" userId="eab39b0b-0874-4185-ab60-88940d3b579c" providerId="ADAL" clId="{CA18739B-3186-42B0-AA33-B60FBB208E20}" dt="2024-03-06T18:10:32.795" v="631" actId="478"/>
          <ac:picMkLst>
            <pc:docMk/>
            <pc:sldMk cId="1271585789" sldId="2147478947"/>
            <ac:picMk id="19" creationId="{D060DCAD-1682-C1BB-E82B-EE5E26349383}"/>
          </ac:picMkLst>
        </pc:picChg>
        <pc:picChg chg="del">
          <ac:chgData name="Engel, Troy [JJCUS NON-J&amp;J]" userId="eab39b0b-0874-4185-ab60-88940d3b579c" providerId="ADAL" clId="{CA18739B-3186-42B0-AA33-B60FBB208E20}" dt="2024-03-06T18:10:32.795" v="631" actId="478"/>
          <ac:picMkLst>
            <pc:docMk/>
            <pc:sldMk cId="1271585789" sldId="2147478947"/>
            <ac:picMk id="20" creationId="{EF0AFCB6-DA40-036A-F2C6-B5F2A3BE62CF}"/>
          </ac:picMkLst>
        </pc:picChg>
        <pc:picChg chg="del">
          <ac:chgData name="Engel, Troy [JJCUS NON-J&amp;J]" userId="eab39b0b-0874-4185-ab60-88940d3b579c" providerId="ADAL" clId="{CA18739B-3186-42B0-AA33-B60FBB208E20}" dt="2024-03-06T18:10:32.795" v="631" actId="478"/>
          <ac:picMkLst>
            <pc:docMk/>
            <pc:sldMk cId="1271585789" sldId="2147478947"/>
            <ac:picMk id="21" creationId="{33249117-18B9-CC82-F68A-A78D6582E8E3}"/>
          </ac:picMkLst>
        </pc:picChg>
        <pc:picChg chg="del">
          <ac:chgData name="Engel, Troy [JJCUS NON-J&amp;J]" userId="eab39b0b-0874-4185-ab60-88940d3b579c" providerId="ADAL" clId="{CA18739B-3186-42B0-AA33-B60FBB208E20}" dt="2024-03-06T18:10:32.795" v="631" actId="478"/>
          <ac:picMkLst>
            <pc:docMk/>
            <pc:sldMk cId="1271585789" sldId="2147478947"/>
            <ac:picMk id="22" creationId="{B78BC301-3D40-9255-637B-A6915E6D295F}"/>
          </ac:picMkLst>
        </pc:picChg>
        <pc:picChg chg="del">
          <ac:chgData name="Engel, Troy [JJCUS NON-J&amp;J]" userId="eab39b0b-0874-4185-ab60-88940d3b579c" providerId="ADAL" clId="{CA18739B-3186-42B0-AA33-B60FBB208E20}" dt="2024-03-06T18:10:32.795" v="631" actId="478"/>
          <ac:picMkLst>
            <pc:docMk/>
            <pc:sldMk cId="1271585789" sldId="2147478947"/>
            <ac:picMk id="23" creationId="{B68345D6-E414-9B5F-9A99-1C5230765C53}"/>
          </ac:picMkLst>
        </pc:picChg>
        <pc:picChg chg="del">
          <ac:chgData name="Engel, Troy [JJCUS NON-J&amp;J]" userId="eab39b0b-0874-4185-ab60-88940d3b579c" providerId="ADAL" clId="{CA18739B-3186-42B0-AA33-B60FBB208E20}" dt="2024-03-06T18:10:32.795" v="631" actId="478"/>
          <ac:picMkLst>
            <pc:docMk/>
            <pc:sldMk cId="1271585789" sldId="2147478947"/>
            <ac:picMk id="24" creationId="{36F5E190-6CD1-6175-7708-59721645AD23}"/>
          </ac:picMkLst>
        </pc:picChg>
        <pc:picChg chg="del">
          <ac:chgData name="Engel, Troy [JJCUS NON-J&amp;J]" userId="eab39b0b-0874-4185-ab60-88940d3b579c" providerId="ADAL" clId="{CA18739B-3186-42B0-AA33-B60FBB208E20}" dt="2024-03-06T18:10:32.795" v="631" actId="478"/>
          <ac:picMkLst>
            <pc:docMk/>
            <pc:sldMk cId="1271585789" sldId="2147478947"/>
            <ac:picMk id="25" creationId="{5A1F8C98-00F0-2807-6253-F95F7FECB306}"/>
          </ac:picMkLst>
        </pc:picChg>
        <pc:picChg chg="add mod">
          <ac:chgData name="Engel, Troy [JJCUS NON-J&amp;J]" userId="eab39b0b-0874-4185-ab60-88940d3b579c" providerId="ADAL" clId="{CA18739B-3186-42B0-AA33-B60FBB208E20}" dt="2024-03-06T18:12:08.553" v="720" actId="14100"/>
          <ac:picMkLst>
            <pc:docMk/>
            <pc:sldMk cId="1271585789" sldId="2147478947"/>
            <ac:picMk id="26" creationId="{A025A8AC-6F61-65AE-99B4-67D1E9A273F1}"/>
          </ac:picMkLst>
        </pc:picChg>
        <pc:picChg chg="add mod">
          <ac:chgData name="Engel, Troy [JJCUS NON-J&amp;J]" userId="eab39b0b-0874-4185-ab60-88940d3b579c" providerId="ADAL" clId="{CA18739B-3186-42B0-AA33-B60FBB208E20}" dt="2024-03-06T18:12:16.236" v="721" actId="14100"/>
          <ac:picMkLst>
            <pc:docMk/>
            <pc:sldMk cId="1271585789" sldId="2147478947"/>
            <ac:picMk id="27" creationId="{57DDDA13-72F1-2D24-EEF4-6CB87E377414}"/>
          </ac:picMkLst>
        </pc:picChg>
      </pc:sldChg>
      <pc:sldChg chg="addSp delSp modSp add mod">
        <pc:chgData name="Engel, Troy [JJCUS NON-J&amp;J]" userId="eab39b0b-0874-4185-ab60-88940d3b579c" providerId="ADAL" clId="{CA18739B-3186-42B0-AA33-B60FBB208E20}" dt="2024-03-06T18:14:57.904" v="759" actId="1036"/>
        <pc:sldMkLst>
          <pc:docMk/>
          <pc:sldMk cId="3872406008" sldId="2147478948"/>
        </pc:sldMkLst>
        <pc:spChg chg="del">
          <ac:chgData name="Engel, Troy [JJCUS NON-J&amp;J]" userId="eab39b0b-0874-4185-ab60-88940d3b579c" providerId="ADAL" clId="{CA18739B-3186-42B0-AA33-B60FBB208E20}" dt="2024-03-06T18:13:57.709" v="726" actId="478"/>
          <ac:spMkLst>
            <pc:docMk/>
            <pc:sldMk cId="3872406008" sldId="2147478948"/>
            <ac:spMk id="3" creationId="{498229C4-7CCF-B9DF-801C-28231C7E6A30}"/>
          </ac:spMkLst>
        </pc:spChg>
        <pc:spChg chg="add mod">
          <ac:chgData name="Engel, Troy [JJCUS NON-J&amp;J]" userId="eab39b0b-0874-4185-ab60-88940d3b579c" providerId="ADAL" clId="{CA18739B-3186-42B0-AA33-B60FBB208E20}" dt="2024-03-06T18:14:57.904" v="759" actId="1036"/>
          <ac:spMkLst>
            <pc:docMk/>
            <pc:sldMk cId="3872406008" sldId="2147478948"/>
            <ac:spMk id="5" creationId="{C1054A6D-58F8-2864-F233-8F39EC9387F8}"/>
          </ac:spMkLst>
        </pc:spChg>
        <pc:spChg chg="add mod">
          <ac:chgData name="Engel, Troy [JJCUS NON-J&amp;J]" userId="eab39b0b-0874-4185-ab60-88940d3b579c" providerId="ADAL" clId="{CA18739B-3186-42B0-AA33-B60FBB208E20}" dt="2024-03-06T18:14:57.904" v="759" actId="1036"/>
          <ac:spMkLst>
            <pc:docMk/>
            <pc:sldMk cId="3872406008" sldId="2147478948"/>
            <ac:spMk id="6" creationId="{386F663E-6C7C-97B3-AD65-7BE51CC78DDD}"/>
          </ac:spMkLst>
        </pc:spChg>
        <pc:spChg chg="add mod">
          <ac:chgData name="Engel, Troy [JJCUS NON-J&amp;J]" userId="eab39b0b-0874-4185-ab60-88940d3b579c" providerId="ADAL" clId="{CA18739B-3186-42B0-AA33-B60FBB208E20}" dt="2024-03-06T18:14:57.904" v="759" actId="1036"/>
          <ac:spMkLst>
            <pc:docMk/>
            <pc:sldMk cId="3872406008" sldId="2147478948"/>
            <ac:spMk id="7" creationId="{D6F392FD-2F71-3F0C-32A8-6D6CB07E551F}"/>
          </ac:spMkLst>
        </pc:spChg>
        <pc:spChg chg="add mod">
          <ac:chgData name="Engel, Troy [JJCUS NON-J&amp;J]" userId="eab39b0b-0874-4185-ab60-88940d3b579c" providerId="ADAL" clId="{CA18739B-3186-42B0-AA33-B60FBB208E20}" dt="2024-03-06T18:14:57.904" v="759" actId="1036"/>
          <ac:spMkLst>
            <pc:docMk/>
            <pc:sldMk cId="3872406008" sldId="2147478948"/>
            <ac:spMk id="8" creationId="{CE8191D9-94CC-4442-0D4B-A131E5EA6502}"/>
          </ac:spMkLst>
        </pc:spChg>
        <pc:spChg chg="add mod">
          <ac:chgData name="Engel, Troy [JJCUS NON-J&amp;J]" userId="eab39b0b-0874-4185-ab60-88940d3b579c" providerId="ADAL" clId="{CA18739B-3186-42B0-AA33-B60FBB208E20}" dt="2024-03-06T18:14:57.904" v="759" actId="1036"/>
          <ac:spMkLst>
            <pc:docMk/>
            <pc:sldMk cId="3872406008" sldId="2147478948"/>
            <ac:spMk id="9" creationId="{8CEFD9C2-690E-06E6-A5C2-1CA845888E83}"/>
          </ac:spMkLst>
        </pc:spChg>
        <pc:spChg chg="del">
          <ac:chgData name="Engel, Troy [JJCUS NON-J&amp;J]" userId="eab39b0b-0874-4185-ab60-88940d3b579c" providerId="ADAL" clId="{CA18739B-3186-42B0-AA33-B60FBB208E20}" dt="2024-03-06T18:13:52.554" v="725" actId="478"/>
          <ac:spMkLst>
            <pc:docMk/>
            <pc:sldMk cId="3872406008" sldId="2147478948"/>
            <ac:spMk id="14" creationId="{A63EB5A3-4F10-AC02-4EA9-C02C4C6F5567}"/>
          </ac:spMkLst>
        </pc:spChg>
        <pc:spChg chg="del">
          <ac:chgData name="Engel, Troy [JJCUS NON-J&amp;J]" userId="eab39b0b-0874-4185-ab60-88940d3b579c" providerId="ADAL" clId="{CA18739B-3186-42B0-AA33-B60FBB208E20}" dt="2024-03-06T18:13:52.554" v="725" actId="478"/>
          <ac:spMkLst>
            <pc:docMk/>
            <pc:sldMk cId="3872406008" sldId="2147478948"/>
            <ac:spMk id="15" creationId="{D9AAEF02-F8DA-BEBC-CD22-98BB4C37E4B4}"/>
          </ac:spMkLst>
        </pc:spChg>
        <pc:spChg chg="del">
          <ac:chgData name="Engel, Troy [JJCUS NON-J&amp;J]" userId="eab39b0b-0874-4185-ab60-88940d3b579c" providerId="ADAL" clId="{CA18739B-3186-42B0-AA33-B60FBB208E20}" dt="2024-03-06T18:14:46.373" v="729" actId="478"/>
          <ac:spMkLst>
            <pc:docMk/>
            <pc:sldMk cId="3872406008" sldId="2147478948"/>
            <ac:spMk id="16" creationId="{FBAD278F-6117-0FDC-6BD3-37F1FBE70250}"/>
          </ac:spMkLst>
        </pc:spChg>
        <pc:spChg chg="del">
          <ac:chgData name="Engel, Troy [JJCUS NON-J&amp;J]" userId="eab39b0b-0874-4185-ab60-88940d3b579c" providerId="ADAL" clId="{CA18739B-3186-42B0-AA33-B60FBB208E20}" dt="2024-03-06T18:13:52.554" v="725" actId="478"/>
          <ac:spMkLst>
            <pc:docMk/>
            <pc:sldMk cId="3872406008" sldId="2147478948"/>
            <ac:spMk id="17" creationId="{7A88B8B6-0932-0960-318B-DE0CA43B7252}"/>
          </ac:spMkLst>
        </pc:spChg>
        <pc:graphicFrameChg chg="del">
          <ac:chgData name="Engel, Troy [JJCUS NON-J&amp;J]" userId="eab39b0b-0874-4185-ab60-88940d3b579c" providerId="ADAL" clId="{CA18739B-3186-42B0-AA33-B60FBB208E20}" dt="2024-03-06T18:13:52.554" v="725" actId="478"/>
          <ac:graphicFrameMkLst>
            <pc:docMk/>
            <pc:sldMk cId="3872406008" sldId="2147478948"/>
            <ac:graphicFrameMk id="12" creationId="{4F54F1A8-91F1-49AB-4FBB-A1A372DD5D14}"/>
          </ac:graphicFrameMkLst>
        </pc:graphicFrameChg>
        <pc:picChg chg="add mod">
          <ac:chgData name="Engel, Troy [JJCUS NON-J&amp;J]" userId="eab39b0b-0874-4185-ab60-88940d3b579c" providerId="ADAL" clId="{CA18739B-3186-42B0-AA33-B60FBB208E20}" dt="2024-03-06T18:14:57.904" v="759" actId="1036"/>
          <ac:picMkLst>
            <pc:docMk/>
            <pc:sldMk cId="3872406008" sldId="2147478948"/>
            <ac:picMk id="10" creationId="{E8AFEA8F-EC59-6CD9-FD30-D872B5B50396}"/>
          </ac:picMkLst>
        </pc:picChg>
        <pc:picChg chg="add mod">
          <ac:chgData name="Engel, Troy [JJCUS NON-J&amp;J]" userId="eab39b0b-0874-4185-ab60-88940d3b579c" providerId="ADAL" clId="{CA18739B-3186-42B0-AA33-B60FBB208E20}" dt="2024-03-06T18:14:57.904" v="759" actId="1036"/>
          <ac:picMkLst>
            <pc:docMk/>
            <pc:sldMk cId="3872406008" sldId="2147478948"/>
            <ac:picMk id="11" creationId="{224889B1-538B-667A-8F2C-ADC86502EC16}"/>
          </ac:picMkLst>
        </pc:picChg>
        <pc:picChg chg="del">
          <ac:chgData name="Engel, Troy [JJCUS NON-J&amp;J]" userId="eab39b0b-0874-4185-ab60-88940d3b579c" providerId="ADAL" clId="{CA18739B-3186-42B0-AA33-B60FBB208E20}" dt="2024-03-06T18:13:52.554" v="725" actId="478"/>
          <ac:picMkLst>
            <pc:docMk/>
            <pc:sldMk cId="3872406008" sldId="2147478948"/>
            <ac:picMk id="18" creationId="{13B758B3-E8D9-F9D7-D744-38FFC4121568}"/>
          </ac:picMkLst>
        </pc:picChg>
        <pc:picChg chg="del">
          <ac:chgData name="Engel, Troy [JJCUS NON-J&amp;J]" userId="eab39b0b-0874-4185-ab60-88940d3b579c" providerId="ADAL" clId="{CA18739B-3186-42B0-AA33-B60FBB208E20}" dt="2024-03-06T18:13:52.554" v="725" actId="478"/>
          <ac:picMkLst>
            <pc:docMk/>
            <pc:sldMk cId="3872406008" sldId="2147478948"/>
            <ac:picMk id="26" creationId="{65E78705-1A17-7B7A-BA4B-35AF87D017D0}"/>
          </ac:picMkLst>
        </pc:picChg>
        <pc:picChg chg="del">
          <ac:chgData name="Engel, Troy [JJCUS NON-J&amp;J]" userId="eab39b0b-0874-4185-ab60-88940d3b579c" providerId="ADAL" clId="{CA18739B-3186-42B0-AA33-B60FBB208E20}" dt="2024-03-06T18:13:52.554" v="725" actId="478"/>
          <ac:picMkLst>
            <pc:docMk/>
            <pc:sldMk cId="3872406008" sldId="2147478948"/>
            <ac:picMk id="27" creationId="{1195A7B4-9CC3-54AD-F7F6-3590FD2597D4}"/>
          </ac:picMkLst>
        </pc:picChg>
      </pc:sldChg>
      <pc:sldChg chg="addSp delSp modSp add mod">
        <pc:chgData name="Engel, Troy [JJCUS NON-J&amp;J]" userId="eab39b0b-0874-4185-ab60-88940d3b579c" providerId="ADAL" clId="{CA18739B-3186-42B0-AA33-B60FBB208E20}" dt="2024-03-06T18:16:36.268" v="864" actId="1036"/>
        <pc:sldMkLst>
          <pc:docMk/>
          <pc:sldMk cId="1483085777" sldId="2147478949"/>
        </pc:sldMkLst>
        <pc:spChg chg="add mod">
          <ac:chgData name="Engel, Troy [JJCUS NON-J&amp;J]" userId="eab39b0b-0874-4185-ab60-88940d3b579c" providerId="ADAL" clId="{CA18739B-3186-42B0-AA33-B60FBB208E20}" dt="2024-03-06T18:16:36.268" v="864" actId="1036"/>
          <ac:spMkLst>
            <pc:docMk/>
            <pc:sldMk cId="1483085777" sldId="2147478949"/>
            <ac:spMk id="3" creationId="{EF828F0F-5D7F-AED2-18E6-089E3EF0FEAB}"/>
          </ac:spMkLst>
        </pc:spChg>
        <pc:spChg chg="del">
          <ac:chgData name="Engel, Troy [JJCUS NON-J&amp;J]" userId="eab39b0b-0874-4185-ab60-88940d3b579c" providerId="ADAL" clId="{CA18739B-3186-42B0-AA33-B60FBB208E20}" dt="2024-03-06T18:15:54.031" v="764" actId="478"/>
          <ac:spMkLst>
            <pc:docMk/>
            <pc:sldMk cId="1483085777" sldId="2147478949"/>
            <ac:spMk id="5" creationId="{0746B33B-7BFC-5076-E8AC-27548C71D25F}"/>
          </ac:spMkLst>
        </pc:spChg>
        <pc:spChg chg="del">
          <ac:chgData name="Engel, Troy [JJCUS NON-J&amp;J]" userId="eab39b0b-0874-4185-ab60-88940d3b579c" providerId="ADAL" clId="{CA18739B-3186-42B0-AA33-B60FBB208E20}" dt="2024-03-06T18:15:54.031" v="764" actId="478"/>
          <ac:spMkLst>
            <pc:docMk/>
            <pc:sldMk cId="1483085777" sldId="2147478949"/>
            <ac:spMk id="6" creationId="{2C13D898-F1BA-5C42-F122-EEB0716CD278}"/>
          </ac:spMkLst>
        </pc:spChg>
        <pc:spChg chg="del">
          <ac:chgData name="Engel, Troy [JJCUS NON-J&amp;J]" userId="eab39b0b-0874-4185-ab60-88940d3b579c" providerId="ADAL" clId="{CA18739B-3186-42B0-AA33-B60FBB208E20}" dt="2024-03-06T18:15:54.031" v="764" actId="478"/>
          <ac:spMkLst>
            <pc:docMk/>
            <pc:sldMk cId="1483085777" sldId="2147478949"/>
            <ac:spMk id="7" creationId="{5398EA6A-AAC5-3677-0833-DAF58BC2108E}"/>
          </ac:spMkLst>
        </pc:spChg>
        <pc:spChg chg="del">
          <ac:chgData name="Engel, Troy [JJCUS NON-J&amp;J]" userId="eab39b0b-0874-4185-ab60-88940d3b579c" providerId="ADAL" clId="{CA18739B-3186-42B0-AA33-B60FBB208E20}" dt="2024-03-06T18:15:54.031" v="764" actId="478"/>
          <ac:spMkLst>
            <pc:docMk/>
            <pc:sldMk cId="1483085777" sldId="2147478949"/>
            <ac:spMk id="8" creationId="{3088FAFF-8C7C-8BE5-7494-09C0AA05368C}"/>
          </ac:spMkLst>
        </pc:spChg>
        <pc:spChg chg="del">
          <ac:chgData name="Engel, Troy [JJCUS NON-J&amp;J]" userId="eab39b0b-0874-4185-ab60-88940d3b579c" providerId="ADAL" clId="{CA18739B-3186-42B0-AA33-B60FBB208E20}" dt="2024-03-06T18:15:54.031" v="764" actId="478"/>
          <ac:spMkLst>
            <pc:docMk/>
            <pc:sldMk cId="1483085777" sldId="2147478949"/>
            <ac:spMk id="9" creationId="{5B6AE5F7-C9CC-B41D-257A-4807A676C86B}"/>
          </ac:spMkLst>
        </pc:spChg>
        <pc:spChg chg="add mod">
          <ac:chgData name="Engel, Troy [JJCUS NON-J&amp;J]" userId="eab39b0b-0874-4185-ab60-88940d3b579c" providerId="ADAL" clId="{CA18739B-3186-42B0-AA33-B60FBB208E20}" dt="2024-03-06T18:16:36.268" v="864" actId="1036"/>
          <ac:spMkLst>
            <pc:docMk/>
            <pc:sldMk cId="1483085777" sldId="2147478949"/>
            <ac:spMk id="12" creationId="{D3483331-AD61-4185-AE1C-4C8C3F272B8A}"/>
          </ac:spMkLst>
        </pc:spChg>
        <pc:spChg chg="add mod">
          <ac:chgData name="Engel, Troy [JJCUS NON-J&amp;J]" userId="eab39b0b-0874-4185-ab60-88940d3b579c" providerId="ADAL" clId="{CA18739B-3186-42B0-AA33-B60FBB208E20}" dt="2024-03-06T18:16:36.268" v="864" actId="1036"/>
          <ac:spMkLst>
            <pc:docMk/>
            <pc:sldMk cId="1483085777" sldId="2147478949"/>
            <ac:spMk id="14" creationId="{CF3547C6-6BA1-4762-A79A-C9BB6347457A}"/>
          </ac:spMkLst>
        </pc:spChg>
        <pc:spChg chg="add mod">
          <ac:chgData name="Engel, Troy [JJCUS NON-J&amp;J]" userId="eab39b0b-0874-4185-ab60-88940d3b579c" providerId="ADAL" clId="{CA18739B-3186-42B0-AA33-B60FBB208E20}" dt="2024-03-06T18:16:36.268" v="864" actId="1036"/>
          <ac:spMkLst>
            <pc:docMk/>
            <pc:sldMk cId="1483085777" sldId="2147478949"/>
            <ac:spMk id="15" creationId="{B45AE756-FB57-777A-41DA-44E8FCE5900C}"/>
          </ac:spMkLst>
        </pc:spChg>
        <pc:picChg chg="del">
          <ac:chgData name="Engel, Troy [JJCUS NON-J&amp;J]" userId="eab39b0b-0874-4185-ab60-88940d3b579c" providerId="ADAL" clId="{CA18739B-3186-42B0-AA33-B60FBB208E20}" dt="2024-03-06T18:15:54.031" v="764" actId="478"/>
          <ac:picMkLst>
            <pc:docMk/>
            <pc:sldMk cId="1483085777" sldId="2147478949"/>
            <ac:picMk id="10" creationId="{0CA79B40-F9EB-3573-74B6-3BDC9BD83D26}"/>
          </ac:picMkLst>
        </pc:picChg>
        <pc:picChg chg="del">
          <ac:chgData name="Engel, Troy [JJCUS NON-J&amp;J]" userId="eab39b0b-0874-4185-ab60-88940d3b579c" providerId="ADAL" clId="{CA18739B-3186-42B0-AA33-B60FBB208E20}" dt="2024-03-06T18:15:54.031" v="764" actId="478"/>
          <ac:picMkLst>
            <pc:docMk/>
            <pc:sldMk cId="1483085777" sldId="2147478949"/>
            <ac:picMk id="11" creationId="{2498792C-3F71-8A24-C972-08EB4B6BFCA7}"/>
          </ac:picMkLst>
        </pc:picChg>
        <pc:picChg chg="add mod">
          <ac:chgData name="Engel, Troy [JJCUS NON-J&amp;J]" userId="eab39b0b-0874-4185-ab60-88940d3b579c" providerId="ADAL" clId="{CA18739B-3186-42B0-AA33-B60FBB208E20}" dt="2024-03-06T18:16:36.268" v="864" actId="1036"/>
          <ac:picMkLst>
            <pc:docMk/>
            <pc:sldMk cId="1483085777" sldId="2147478949"/>
            <ac:picMk id="16" creationId="{7D962CE9-78C0-ADD7-6C0E-162BF8935623}"/>
          </ac:picMkLst>
        </pc:picChg>
        <pc:picChg chg="add mod">
          <ac:chgData name="Engel, Troy [JJCUS NON-J&amp;J]" userId="eab39b0b-0874-4185-ab60-88940d3b579c" providerId="ADAL" clId="{CA18739B-3186-42B0-AA33-B60FBB208E20}" dt="2024-03-06T18:16:36.268" v="864" actId="1036"/>
          <ac:picMkLst>
            <pc:docMk/>
            <pc:sldMk cId="1483085777" sldId="2147478949"/>
            <ac:picMk id="17" creationId="{E5706352-DAA1-3E62-29B5-24B2FFDE1B39}"/>
          </ac:picMkLst>
        </pc:picChg>
        <pc:picChg chg="add mod">
          <ac:chgData name="Engel, Troy [JJCUS NON-J&amp;J]" userId="eab39b0b-0874-4185-ab60-88940d3b579c" providerId="ADAL" clId="{CA18739B-3186-42B0-AA33-B60FBB208E20}" dt="2024-03-06T18:16:36.268" v="864" actId="1036"/>
          <ac:picMkLst>
            <pc:docMk/>
            <pc:sldMk cId="1483085777" sldId="2147478949"/>
            <ac:picMk id="18" creationId="{BA6E9CD5-F691-007A-6526-8186FCD1BBF5}"/>
          </ac:picMkLst>
        </pc:picChg>
      </pc:sldChg>
      <pc:sldChg chg="addSp delSp modSp add mod">
        <pc:chgData name="Engel, Troy [JJCUS NON-J&amp;J]" userId="eab39b0b-0874-4185-ab60-88940d3b579c" providerId="ADAL" clId="{CA18739B-3186-42B0-AA33-B60FBB208E20}" dt="2024-03-06T18:19:32.358" v="961" actId="1038"/>
        <pc:sldMkLst>
          <pc:docMk/>
          <pc:sldMk cId="1478677434" sldId="2147478950"/>
        </pc:sldMkLst>
        <pc:spChg chg="del">
          <ac:chgData name="Engel, Troy [JJCUS NON-J&amp;J]" userId="eab39b0b-0874-4185-ab60-88940d3b579c" providerId="ADAL" clId="{CA18739B-3186-42B0-AA33-B60FBB208E20}" dt="2024-03-06T18:17:35.293" v="867" actId="478"/>
          <ac:spMkLst>
            <pc:docMk/>
            <pc:sldMk cId="1478677434" sldId="2147478950"/>
            <ac:spMk id="3" creationId="{8C57DD35-3740-3BFE-1455-B7562A71DE47}"/>
          </ac:spMkLst>
        </pc:spChg>
        <pc:spChg chg="add mod">
          <ac:chgData name="Engel, Troy [JJCUS NON-J&amp;J]" userId="eab39b0b-0874-4185-ab60-88940d3b579c" providerId="ADAL" clId="{CA18739B-3186-42B0-AA33-B60FBB208E20}" dt="2024-03-06T18:19:32.358" v="961" actId="1038"/>
          <ac:spMkLst>
            <pc:docMk/>
            <pc:sldMk cId="1478677434" sldId="2147478950"/>
            <ac:spMk id="5" creationId="{83FF011E-C3BF-42AB-D914-5EFD3F317CB6}"/>
          </ac:spMkLst>
        </pc:spChg>
        <pc:spChg chg="add mod">
          <ac:chgData name="Engel, Troy [JJCUS NON-J&amp;J]" userId="eab39b0b-0874-4185-ab60-88940d3b579c" providerId="ADAL" clId="{CA18739B-3186-42B0-AA33-B60FBB208E20}" dt="2024-03-06T18:19:10.680" v="954" actId="1036"/>
          <ac:spMkLst>
            <pc:docMk/>
            <pc:sldMk cId="1478677434" sldId="2147478950"/>
            <ac:spMk id="6" creationId="{A38ED387-F128-B623-82E7-C3B9B2E2AAC7}"/>
          </ac:spMkLst>
        </pc:spChg>
        <pc:spChg chg="add mod">
          <ac:chgData name="Engel, Troy [JJCUS NON-J&amp;J]" userId="eab39b0b-0874-4185-ab60-88940d3b579c" providerId="ADAL" clId="{CA18739B-3186-42B0-AA33-B60FBB208E20}" dt="2024-03-06T18:19:10.680" v="954" actId="1036"/>
          <ac:spMkLst>
            <pc:docMk/>
            <pc:sldMk cId="1478677434" sldId="2147478950"/>
            <ac:spMk id="7" creationId="{62011099-78C8-A230-C1E6-05FA024A59AB}"/>
          </ac:spMkLst>
        </pc:spChg>
        <pc:spChg chg="add mod">
          <ac:chgData name="Engel, Troy [JJCUS NON-J&amp;J]" userId="eab39b0b-0874-4185-ab60-88940d3b579c" providerId="ADAL" clId="{CA18739B-3186-42B0-AA33-B60FBB208E20}" dt="2024-03-06T18:19:10.680" v="954" actId="1036"/>
          <ac:spMkLst>
            <pc:docMk/>
            <pc:sldMk cId="1478677434" sldId="2147478950"/>
            <ac:spMk id="8" creationId="{73B0CCFE-83DA-0DF1-4FD5-AB6D28B886EF}"/>
          </ac:spMkLst>
        </pc:spChg>
        <pc:spChg chg="add mod">
          <ac:chgData name="Engel, Troy [JJCUS NON-J&amp;J]" userId="eab39b0b-0874-4185-ab60-88940d3b579c" providerId="ADAL" clId="{CA18739B-3186-42B0-AA33-B60FBB208E20}" dt="2024-03-06T18:19:10.680" v="954" actId="1036"/>
          <ac:spMkLst>
            <pc:docMk/>
            <pc:sldMk cId="1478677434" sldId="2147478950"/>
            <ac:spMk id="11" creationId="{2FB44982-56CB-7B97-854A-1C1D200D2E6E}"/>
          </ac:spMkLst>
        </pc:spChg>
        <pc:spChg chg="del">
          <ac:chgData name="Engel, Troy [JJCUS NON-J&amp;J]" userId="eab39b0b-0874-4185-ab60-88940d3b579c" providerId="ADAL" clId="{CA18739B-3186-42B0-AA33-B60FBB208E20}" dt="2024-03-06T18:17:35.293" v="867" actId="478"/>
          <ac:spMkLst>
            <pc:docMk/>
            <pc:sldMk cId="1478677434" sldId="2147478950"/>
            <ac:spMk id="12" creationId="{9AC38204-B4A0-D418-B4CC-6C717BB799C2}"/>
          </ac:spMkLst>
        </pc:spChg>
        <pc:spChg chg="del">
          <ac:chgData name="Engel, Troy [JJCUS NON-J&amp;J]" userId="eab39b0b-0874-4185-ab60-88940d3b579c" providerId="ADAL" clId="{CA18739B-3186-42B0-AA33-B60FBB208E20}" dt="2024-03-06T18:17:35.293" v="867" actId="478"/>
          <ac:spMkLst>
            <pc:docMk/>
            <pc:sldMk cId="1478677434" sldId="2147478950"/>
            <ac:spMk id="14" creationId="{3CB1F3E7-857D-5D44-6102-258503E8FFB7}"/>
          </ac:spMkLst>
        </pc:spChg>
        <pc:spChg chg="del">
          <ac:chgData name="Engel, Troy [JJCUS NON-J&amp;J]" userId="eab39b0b-0874-4185-ab60-88940d3b579c" providerId="ADAL" clId="{CA18739B-3186-42B0-AA33-B60FBB208E20}" dt="2024-03-06T18:17:35.293" v="867" actId="478"/>
          <ac:spMkLst>
            <pc:docMk/>
            <pc:sldMk cId="1478677434" sldId="2147478950"/>
            <ac:spMk id="15" creationId="{E3165F4D-FCC9-C91A-BC03-917A460D39FE}"/>
          </ac:spMkLst>
        </pc:spChg>
        <pc:picChg chg="add mod">
          <ac:chgData name="Engel, Troy [JJCUS NON-J&amp;J]" userId="eab39b0b-0874-4185-ab60-88940d3b579c" providerId="ADAL" clId="{CA18739B-3186-42B0-AA33-B60FBB208E20}" dt="2024-03-06T18:19:10.680" v="954" actId="1036"/>
          <ac:picMkLst>
            <pc:docMk/>
            <pc:sldMk cId="1478677434" sldId="2147478950"/>
            <ac:picMk id="9" creationId="{D5D9BC3C-D121-6BCE-F991-3AB3289E27B2}"/>
          </ac:picMkLst>
        </pc:picChg>
        <pc:picChg chg="add mod">
          <ac:chgData name="Engel, Troy [JJCUS NON-J&amp;J]" userId="eab39b0b-0874-4185-ab60-88940d3b579c" providerId="ADAL" clId="{CA18739B-3186-42B0-AA33-B60FBB208E20}" dt="2024-03-06T18:19:10.680" v="954" actId="1036"/>
          <ac:picMkLst>
            <pc:docMk/>
            <pc:sldMk cId="1478677434" sldId="2147478950"/>
            <ac:picMk id="10" creationId="{D573FD00-A7FF-7562-6DA3-34324D75D601}"/>
          </ac:picMkLst>
        </pc:picChg>
        <pc:picChg chg="del">
          <ac:chgData name="Engel, Troy [JJCUS NON-J&amp;J]" userId="eab39b0b-0874-4185-ab60-88940d3b579c" providerId="ADAL" clId="{CA18739B-3186-42B0-AA33-B60FBB208E20}" dt="2024-03-06T18:17:35.293" v="867" actId="478"/>
          <ac:picMkLst>
            <pc:docMk/>
            <pc:sldMk cId="1478677434" sldId="2147478950"/>
            <ac:picMk id="16" creationId="{9633A199-1868-009B-9CC4-7B000F0CCF56}"/>
          </ac:picMkLst>
        </pc:picChg>
        <pc:picChg chg="del">
          <ac:chgData name="Engel, Troy [JJCUS NON-J&amp;J]" userId="eab39b0b-0874-4185-ab60-88940d3b579c" providerId="ADAL" clId="{CA18739B-3186-42B0-AA33-B60FBB208E20}" dt="2024-03-06T18:17:35.293" v="867" actId="478"/>
          <ac:picMkLst>
            <pc:docMk/>
            <pc:sldMk cId="1478677434" sldId="2147478950"/>
            <ac:picMk id="17" creationId="{54C984A3-DBCC-A1E9-34B0-CF070C1E6813}"/>
          </ac:picMkLst>
        </pc:picChg>
        <pc:picChg chg="del">
          <ac:chgData name="Engel, Troy [JJCUS NON-J&amp;J]" userId="eab39b0b-0874-4185-ab60-88940d3b579c" providerId="ADAL" clId="{CA18739B-3186-42B0-AA33-B60FBB208E20}" dt="2024-03-06T18:17:35.293" v="867" actId="478"/>
          <ac:picMkLst>
            <pc:docMk/>
            <pc:sldMk cId="1478677434" sldId="2147478950"/>
            <ac:picMk id="18" creationId="{365162AA-F24A-953E-AD57-4724023D47CF}"/>
          </ac:picMkLst>
        </pc:picChg>
        <pc:picChg chg="add mod">
          <ac:chgData name="Engel, Troy [JJCUS NON-J&amp;J]" userId="eab39b0b-0874-4185-ab60-88940d3b579c" providerId="ADAL" clId="{CA18739B-3186-42B0-AA33-B60FBB208E20}" dt="2024-03-06T18:19:10.680" v="954" actId="1036"/>
          <ac:picMkLst>
            <pc:docMk/>
            <pc:sldMk cId="1478677434" sldId="2147478950"/>
            <ac:picMk id="19" creationId="{3B72A2F0-E158-C5C4-F4F8-37F19577BD22}"/>
          </ac:picMkLst>
        </pc:picChg>
        <pc:picChg chg="add mod">
          <ac:chgData name="Engel, Troy [JJCUS NON-J&amp;J]" userId="eab39b0b-0874-4185-ab60-88940d3b579c" providerId="ADAL" clId="{CA18739B-3186-42B0-AA33-B60FBB208E20}" dt="2024-03-06T18:19:10.680" v="954" actId="1036"/>
          <ac:picMkLst>
            <pc:docMk/>
            <pc:sldMk cId="1478677434" sldId="2147478950"/>
            <ac:picMk id="20" creationId="{CB65826C-B8C9-94DE-C7B9-48660278E2EC}"/>
          </ac:picMkLst>
        </pc:picChg>
      </pc:sldChg>
    </pc:docChg>
  </pc:docChgLst>
  <pc:docChgLst>
    <pc:chgData name="Engel, Troy [JJCUS NON-J&amp;J]" userId="eab39b0b-0874-4185-ab60-88940d3b579c" providerId="ADAL" clId="{7D2065E8-8C78-4F42-98FB-1C5288E349FC}"/>
    <pc:docChg chg="undo redo custSel addSld delSld modSld">
      <pc:chgData name="Engel, Troy [JJCUS NON-J&amp;J]" userId="eab39b0b-0874-4185-ab60-88940d3b579c" providerId="ADAL" clId="{7D2065E8-8C78-4F42-98FB-1C5288E349FC}" dt="2024-03-05T19:09:08.400" v="1926" actId="20577"/>
      <pc:docMkLst>
        <pc:docMk/>
      </pc:docMkLst>
      <pc:sldChg chg="modSp mod">
        <pc:chgData name="Engel, Troy [JJCUS NON-J&amp;J]" userId="eab39b0b-0874-4185-ab60-88940d3b579c" providerId="ADAL" clId="{7D2065E8-8C78-4F42-98FB-1C5288E349FC}" dt="2024-03-05T19:01:27.976" v="1757" actId="20577"/>
        <pc:sldMkLst>
          <pc:docMk/>
          <pc:sldMk cId="1165562104" sldId="345"/>
        </pc:sldMkLst>
        <pc:spChg chg="mod">
          <ac:chgData name="Engel, Troy [JJCUS NON-J&amp;J]" userId="eab39b0b-0874-4185-ab60-88940d3b579c" providerId="ADAL" clId="{7D2065E8-8C78-4F42-98FB-1C5288E349FC}" dt="2024-03-05T19:01:27.976" v="1757" actId="20577"/>
          <ac:spMkLst>
            <pc:docMk/>
            <pc:sldMk cId="1165562104" sldId="345"/>
            <ac:spMk id="2" creationId="{85F2B1EF-F73A-8046-8D0F-CDCFEFB2A24B}"/>
          </ac:spMkLst>
        </pc:spChg>
        <pc:spChg chg="mod">
          <ac:chgData name="Engel, Troy [JJCUS NON-J&amp;J]" userId="eab39b0b-0874-4185-ab60-88940d3b579c" providerId="ADAL" clId="{7D2065E8-8C78-4F42-98FB-1C5288E349FC}" dt="2024-03-05T18:44:25.261" v="1458" actId="1036"/>
          <ac:spMkLst>
            <pc:docMk/>
            <pc:sldMk cId="1165562104" sldId="345"/>
            <ac:spMk id="3" creationId="{104A6BD2-7745-F84C-A2B4-4E2920A6EC1B}"/>
          </ac:spMkLst>
        </pc:spChg>
        <pc:spChg chg="mod">
          <ac:chgData name="Engel, Troy [JJCUS NON-J&amp;J]" userId="eab39b0b-0874-4185-ab60-88940d3b579c" providerId="ADAL" clId="{7D2065E8-8C78-4F42-98FB-1C5288E349FC}" dt="2024-03-05T18:44:10.533" v="1443" actId="1036"/>
          <ac:spMkLst>
            <pc:docMk/>
            <pc:sldMk cId="1165562104" sldId="345"/>
            <ac:spMk id="4" creationId="{FB4D8529-79DD-FD46-B5A7-628F64FAF19C}"/>
          </ac:spMkLst>
        </pc:spChg>
        <pc:spChg chg="mod">
          <ac:chgData name="Engel, Troy [JJCUS NON-J&amp;J]" userId="eab39b0b-0874-4185-ab60-88940d3b579c" providerId="ADAL" clId="{7D2065E8-8C78-4F42-98FB-1C5288E349FC}" dt="2024-03-05T18:44:19.058" v="1452" actId="1036"/>
          <ac:spMkLst>
            <pc:docMk/>
            <pc:sldMk cId="1165562104" sldId="345"/>
            <ac:spMk id="11" creationId="{00000000-0000-0000-0000-000000000000}"/>
          </ac:spMkLst>
        </pc:spChg>
        <pc:spChg chg="mod">
          <ac:chgData name="Engel, Troy [JJCUS NON-J&amp;J]" userId="eab39b0b-0874-4185-ab60-88940d3b579c" providerId="ADAL" clId="{7D2065E8-8C78-4F42-98FB-1C5288E349FC}" dt="2024-03-05T18:44:10.533" v="1443" actId="1036"/>
          <ac:spMkLst>
            <pc:docMk/>
            <pc:sldMk cId="1165562104" sldId="345"/>
            <ac:spMk id="12" creationId="{00000000-0000-0000-0000-000000000000}"/>
          </ac:spMkLst>
        </pc:spChg>
        <pc:spChg chg="mod">
          <ac:chgData name="Engel, Troy [JJCUS NON-J&amp;J]" userId="eab39b0b-0874-4185-ab60-88940d3b579c" providerId="ADAL" clId="{7D2065E8-8C78-4F42-98FB-1C5288E349FC}" dt="2024-03-05T18:44:10.533" v="1443" actId="1036"/>
          <ac:spMkLst>
            <pc:docMk/>
            <pc:sldMk cId="1165562104" sldId="345"/>
            <ac:spMk id="16" creationId="{0BE243BC-C444-F84F-9BA9-7D5E1EC9FC68}"/>
          </ac:spMkLst>
        </pc:spChg>
        <pc:graphicFrameChg chg="mod">
          <ac:chgData name="Engel, Troy [JJCUS NON-J&amp;J]" userId="eab39b0b-0874-4185-ab60-88940d3b579c" providerId="ADAL" clId="{7D2065E8-8C78-4F42-98FB-1C5288E349FC}" dt="2024-03-05T18:44:10.533" v="1443" actId="1036"/>
          <ac:graphicFrameMkLst>
            <pc:docMk/>
            <pc:sldMk cId="1165562104" sldId="345"/>
            <ac:graphicFrameMk id="50" creationId="{00000000-0000-0000-0000-000000000000}"/>
          </ac:graphicFrameMkLst>
        </pc:graphicFrameChg>
        <pc:picChg chg="mod">
          <ac:chgData name="Engel, Troy [JJCUS NON-J&amp;J]" userId="eab39b0b-0874-4185-ab60-88940d3b579c" providerId="ADAL" clId="{7D2065E8-8C78-4F42-98FB-1C5288E349FC}" dt="2024-03-05T18:44:10.533" v="1443" actId="1036"/>
          <ac:picMkLst>
            <pc:docMk/>
            <pc:sldMk cId="1165562104" sldId="345"/>
            <ac:picMk id="7" creationId="{4494B007-1EC4-2D51-AF9E-9D2259DB51F2}"/>
          </ac:picMkLst>
        </pc:picChg>
        <pc:picChg chg="mod">
          <ac:chgData name="Engel, Troy [JJCUS NON-J&amp;J]" userId="eab39b0b-0874-4185-ab60-88940d3b579c" providerId="ADAL" clId="{7D2065E8-8C78-4F42-98FB-1C5288E349FC}" dt="2024-03-05T18:44:10.533" v="1443" actId="1036"/>
          <ac:picMkLst>
            <pc:docMk/>
            <pc:sldMk cId="1165562104" sldId="345"/>
            <ac:picMk id="9" creationId="{9A8758DD-5712-8D1D-45D3-2D03CFD68C62}"/>
          </ac:picMkLst>
        </pc:picChg>
        <pc:picChg chg="mod">
          <ac:chgData name="Engel, Troy [JJCUS NON-J&amp;J]" userId="eab39b0b-0874-4185-ab60-88940d3b579c" providerId="ADAL" clId="{7D2065E8-8C78-4F42-98FB-1C5288E349FC}" dt="2024-03-05T18:44:10.533" v="1443" actId="1036"/>
          <ac:picMkLst>
            <pc:docMk/>
            <pc:sldMk cId="1165562104" sldId="345"/>
            <ac:picMk id="19" creationId="{3FC52794-5AC2-FB3E-1CAC-806E6DA9A5EC}"/>
          </ac:picMkLst>
        </pc:picChg>
      </pc:sldChg>
      <pc:sldChg chg="modSp mod">
        <pc:chgData name="Engel, Troy [JJCUS NON-J&amp;J]" userId="eab39b0b-0874-4185-ab60-88940d3b579c" providerId="ADAL" clId="{7D2065E8-8C78-4F42-98FB-1C5288E349FC}" dt="2024-03-05T19:09:08.400" v="1926" actId="20577"/>
        <pc:sldMkLst>
          <pc:docMk/>
          <pc:sldMk cId="2453225674" sldId="479"/>
        </pc:sldMkLst>
        <pc:spChg chg="mod">
          <ac:chgData name="Engel, Troy [JJCUS NON-J&amp;J]" userId="eab39b0b-0874-4185-ab60-88940d3b579c" providerId="ADAL" clId="{7D2065E8-8C78-4F42-98FB-1C5288E349FC}" dt="2024-03-05T15:16:26.967" v="828" actId="1076"/>
          <ac:spMkLst>
            <pc:docMk/>
            <pc:sldMk cId="2453225674" sldId="479"/>
            <ac:spMk id="8" creationId="{B6005F29-5694-2449-8EE2-B44DD881E6CB}"/>
          </ac:spMkLst>
        </pc:spChg>
        <pc:graphicFrameChg chg="mod modGraphic">
          <ac:chgData name="Engel, Troy [JJCUS NON-J&amp;J]" userId="eab39b0b-0874-4185-ab60-88940d3b579c" providerId="ADAL" clId="{7D2065E8-8C78-4F42-98FB-1C5288E349FC}" dt="2024-03-05T15:59:38.548" v="1254" actId="1037"/>
          <ac:graphicFrameMkLst>
            <pc:docMk/>
            <pc:sldMk cId="2453225674" sldId="479"/>
            <ac:graphicFrameMk id="2" creationId="{11AF8988-5274-3E3E-E17B-31538F0B5130}"/>
          </ac:graphicFrameMkLst>
        </pc:graphicFrameChg>
        <pc:graphicFrameChg chg="mod modGraphic">
          <ac:chgData name="Engel, Troy [JJCUS NON-J&amp;J]" userId="eab39b0b-0874-4185-ab60-88940d3b579c" providerId="ADAL" clId="{7D2065E8-8C78-4F42-98FB-1C5288E349FC}" dt="2024-03-04T22:30:31.372" v="615" actId="1038"/>
          <ac:graphicFrameMkLst>
            <pc:docMk/>
            <pc:sldMk cId="2453225674" sldId="479"/>
            <ac:graphicFrameMk id="3" creationId="{04641269-20A3-4614-8C71-44800FA7EF4F}"/>
          </ac:graphicFrameMkLst>
        </pc:graphicFrameChg>
        <pc:graphicFrameChg chg="mod modGraphic">
          <ac:chgData name="Engel, Troy [JJCUS NON-J&amp;J]" userId="eab39b0b-0874-4185-ab60-88940d3b579c" providerId="ADAL" clId="{7D2065E8-8C78-4F42-98FB-1C5288E349FC}" dt="2024-03-05T15:59:25.539" v="1253" actId="1036"/>
          <ac:graphicFrameMkLst>
            <pc:docMk/>
            <pc:sldMk cId="2453225674" sldId="479"/>
            <ac:graphicFrameMk id="4" creationId="{0BE1F36D-CE08-4E29-00E1-D6B715EC359F}"/>
          </ac:graphicFrameMkLst>
        </pc:graphicFrameChg>
        <pc:graphicFrameChg chg="mod modGraphic">
          <ac:chgData name="Engel, Troy [JJCUS NON-J&amp;J]" userId="eab39b0b-0874-4185-ab60-88940d3b579c" providerId="ADAL" clId="{7D2065E8-8C78-4F42-98FB-1C5288E349FC}" dt="2024-03-05T15:54:48.785" v="1224" actId="552"/>
          <ac:graphicFrameMkLst>
            <pc:docMk/>
            <pc:sldMk cId="2453225674" sldId="479"/>
            <ac:graphicFrameMk id="14" creationId="{3E31D33F-B074-D16C-D727-DA5D268325BA}"/>
          </ac:graphicFrameMkLst>
        </pc:graphicFrameChg>
        <pc:graphicFrameChg chg="mod modGraphic">
          <ac:chgData name="Engel, Troy [JJCUS NON-J&amp;J]" userId="eab39b0b-0874-4185-ab60-88940d3b579c" providerId="ADAL" clId="{7D2065E8-8C78-4F42-98FB-1C5288E349FC}" dt="2024-03-05T15:55:31.401" v="1230" actId="14100"/>
          <ac:graphicFrameMkLst>
            <pc:docMk/>
            <pc:sldMk cId="2453225674" sldId="479"/>
            <ac:graphicFrameMk id="19" creationId="{DA28C93A-050C-0C4E-479C-685370ADC5CA}"/>
          </ac:graphicFrameMkLst>
        </pc:graphicFrameChg>
        <pc:graphicFrameChg chg="mod modGraphic">
          <ac:chgData name="Engel, Troy [JJCUS NON-J&amp;J]" userId="eab39b0b-0874-4185-ab60-88940d3b579c" providerId="ADAL" clId="{7D2065E8-8C78-4F42-98FB-1C5288E349FC}" dt="2024-03-05T19:09:08.400" v="1926" actId="20577"/>
          <ac:graphicFrameMkLst>
            <pc:docMk/>
            <pc:sldMk cId="2453225674" sldId="479"/>
            <ac:graphicFrameMk id="26" creationId="{92441FFA-2AD5-6E44-8FCA-34CCB5215D91}"/>
          </ac:graphicFrameMkLst>
        </pc:graphicFrameChg>
      </pc:sldChg>
      <pc:sldChg chg="modSp mod">
        <pc:chgData name="Engel, Troy [JJCUS NON-J&amp;J]" userId="eab39b0b-0874-4185-ab60-88940d3b579c" providerId="ADAL" clId="{7D2065E8-8C78-4F42-98FB-1C5288E349FC}" dt="2024-03-05T15:28:51.538" v="915" actId="20577"/>
        <pc:sldMkLst>
          <pc:docMk/>
          <pc:sldMk cId="2120427637" sldId="2147478913"/>
        </pc:sldMkLst>
        <pc:graphicFrameChg chg="modGraphic">
          <ac:chgData name="Engel, Troy [JJCUS NON-J&amp;J]" userId="eab39b0b-0874-4185-ab60-88940d3b579c" providerId="ADAL" clId="{7D2065E8-8C78-4F42-98FB-1C5288E349FC}" dt="2024-03-05T15:28:51.538" v="915" actId="20577"/>
          <ac:graphicFrameMkLst>
            <pc:docMk/>
            <pc:sldMk cId="2120427637" sldId="2147478913"/>
            <ac:graphicFrameMk id="5" creationId="{EEA505C5-8326-B5A6-B0EE-AAEACF4F19FB}"/>
          </ac:graphicFrameMkLst>
        </pc:graphicFrameChg>
      </pc:sldChg>
      <pc:sldChg chg="modSp mod">
        <pc:chgData name="Engel, Troy [JJCUS NON-J&amp;J]" userId="eab39b0b-0874-4185-ab60-88940d3b579c" providerId="ADAL" clId="{7D2065E8-8C78-4F42-98FB-1C5288E349FC}" dt="2024-03-04T22:45:06.747" v="825" actId="20577"/>
        <pc:sldMkLst>
          <pc:docMk/>
          <pc:sldMk cId="3756042340" sldId="2147478925"/>
        </pc:sldMkLst>
        <pc:spChg chg="mod">
          <ac:chgData name="Engel, Troy [JJCUS NON-J&amp;J]" userId="eab39b0b-0874-4185-ab60-88940d3b579c" providerId="ADAL" clId="{7D2065E8-8C78-4F42-98FB-1C5288E349FC}" dt="2024-03-04T22:45:06.747" v="825" actId="20577"/>
          <ac:spMkLst>
            <pc:docMk/>
            <pc:sldMk cId="3756042340" sldId="2147478925"/>
            <ac:spMk id="4" creationId="{D2F11B74-F80D-3A6E-AED1-AF9DB6924C60}"/>
          </ac:spMkLst>
        </pc:spChg>
        <pc:spChg chg="mod">
          <ac:chgData name="Engel, Troy [JJCUS NON-J&amp;J]" userId="eab39b0b-0874-4185-ab60-88940d3b579c" providerId="ADAL" clId="{7D2065E8-8C78-4F42-98FB-1C5288E349FC}" dt="2024-03-04T22:44:13.638" v="799" actId="1076"/>
          <ac:spMkLst>
            <pc:docMk/>
            <pc:sldMk cId="3756042340" sldId="2147478925"/>
            <ac:spMk id="6" creationId="{EE69EE14-ECF5-BB3B-360A-96821EC8BD4E}"/>
          </ac:spMkLst>
        </pc:spChg>
        <pc:spChg chg="mod">
          <ac:chgData name="Engel, Troy [JJCUS NON-J&amp;J]" userId="eab39b0b-0874-4185-ab60-88940d3b579c" providerId="ADAL" clId="{7D2065E8-8C78-4F42-98FB-1C5288E349FC}" dt="2024-03-04T22:44:13.638" v="799" actId="1076"/>
          <ac:spMkLst>
            <pc:docMk/>
            <pc:sldMk cId="3756042340" sldId="2147478925"/>
            <ac:spMk id="7" creationId="{4DA23130-E58E-7593-0ECF-9DF1A3702F44}"/>
          </ac:spMkLst>
        </pc:spChg>
      </pc:sldChg>
      <pc:sldChg chg="addSp delSp modSp mod">
        <pc:chgData name="Engel, Troy [JJCUS NON-J&amp;J]" userId="eab39b0b-0874-4185-ab60-88940d3b579c" providerId="ADAL" clId="{7D2065E8-8C78-4F42-98FB-1C5288E349FC}" dt="2024-03-05T19:05:46.321" v="1845" actId="1036"/>
        <pc:sldMkLst>
          <pc:docMk/>
          <pc:sldMk cId="1990109457" sldId="2147478926"/>
        </pc:sldMkLst>
        <pc:spChg chg="del">
          <ac:chgData name="Engel, Troy [JJCUS NON-J&amp;J]" userId="eab39b0b-0874-4185-ab60-88940d3b579c" providerId="ADAL" clId="{7D2065E8-8C78-4F42-98FB-1C5288E349FC}" dt="2024-03-05T18:48:08.846" v="1515" actId="478"/>
          <ac:spMkLst>
            <pc:docMk/>
            <pc:sldMk cId="1990109457" sldId="2147478926"/>
            <ac:spMk id="2" creationId="{3ED39E88-129D-E011-E65D-6B43C98393F9}"/>
          </ac:spMkLst>
        </pc:spChg>
        <pc:spChg chg="mod">
          <ac:chgData name="Engel, Troy [JJCUS NON-J&amp;J]" userId="eab39b0b-0874-4185-ab60-88940d3b579c" providerId="ADAL" clId="{7D2065E8-8C78-4F42-98FB-1C5288E349FC}" dt="2024-03-05T19:05:46.321" v="1845" actId="1036"/>
          <ac:spMkLst>
            <pc:docMk/>
            <pc:sldMk cId="1990109457" sldId="2147478926"/>
            <ac:spMk id="3" creationId="{4C436FFB-FFA4-A69E-6B51-2E7E43959FAF}"/>
          </ac:spMkLst>
        </pc:spChg>
        <pc:spChg chg="add del mod">
          <ac:chgData name="Engel, Troy [JJCUS NON-J&amp;J]" userId="eab39b0b-0874-4185-ab60-88940d3b579c" providerId="ADAL" clId="{7D2065E8-8C78-4F42-98FB-1C5288E349FC}" dt="2024-03-05T18:48:15.205" v="1516" actId="478"/>
          <ac:spMkLst>
            <pc:docMk/>
            <pc:sldMk cId="1990109457" sldId="2147478926"/>
            <ac:spMk id="6" creationId="{2F62DF5B-2177-5826-F221-E851ED4E19F3}"/>
          </ac:spMkLst>
        </pc:spChg>
        <pc:spChg chg="add mod">
          <ac:chgData name="Engel, Troy [JJCUS NON-J&amp;J]" userId="eab39b0b-0874-4185-ab60-88940d3b579c" providerId="ADAL" clId="{7D2065E8-8C78-4F42-98FB-1C5288E349FC}" dt="2024-03-05T19:05:39.178" v="1834"/>
          <ac:spMkLst>
            <pc:docMk/>
            <pc:sldMk cId="1990109457" sldId="2147478926"/>
            <ac:spMk id="7" creationId="{63F08D07-8082-DE17-5C30-99FFB12F8E55}"/>
          </ac:spMkLst>
        </pc:spChg>
        <pc:spChg chg="mod">
          <ac:chgData name="Engel, Troy [JJCUS NON-J&amp;J]" userId="eab39b0b-0874-4185-ab60-88940d3b579c" providerId="ADAL" clId="{7D2065E8-8C78-4F42-98FB-1C5288E349FC}" dt="2024-03-05T18:47:57.033" v="1500" actId="1035"/>
          <ac:spMkLst>
            <pc:docMk/>
            <pc:sldMk cId="1990109457" sldId="2147478926"/>
            <ac:spMk id="11" creationId="{1D6F4336-EBA5-D127-505F-C17F678C4CEF}"/>
          </ac:spMkLst>
        </pc:spChg>
        <pc:spChg chg="mod">
          <ac:chgData name="Engel, Troy [JJCUS NON-J&amp;J]" userId="eab39b0b-0874-4185-ab60-88940d3b579c" providerId="ADAL" clId="{7D2065E8-8C78-4F42-98FB-1C5288E349FC}" dt="2024-03-05T18:47:57.033" v="1500" actId="1035"/>
          <ac:spMkLst>
            <pc:docMk/>
            <pc:sldMk cId="1990109457" sldId="2147478926"/>
            <ac:spMk id="12" creationId="{067EDFE6-5E45-6870-5A43-16A63A554378}"/>
          </ac:spMkLst>
        </pc:spChg>
        <pc:spChg chg="mod">
          <ac:chgData name="Engel, Troy [JJCUS NON-J&amp;J]" userId="eab39b0b-0874-4185-ab60-88940d3b579c" providerId="ADAL" clId="{7D2065E8-8C78-4F42-98FB-1C5288E349FC}" dt="2024-03-05T18:47:57.033" v="1500" actId="1035"/>
          <ac:spMkLst>
            <pc:docMk/>
            <pc:sldMk cId="1990109457" sldId="2147478926"/>
            <ac:spMk id="16" creationId="{086BF6F6-9F6A-E6A3-B226-2D66064B14D2}"/>
          </ac:spMkLst>
        </pc:spChg>
        <pc:picChg chg="mod">
          <ac:chgData name="Engel, Troy [JJCUS NON-J&amp;J]" userId="eab39b0b-0874-4185-ab60-88940d3b579c" providerId="ADAL" clId="{7D2065E8-8C78-4F42-98FB-1C5288E349FC}" dt="2024-03-05T18:47:57.033" v="1500" actId="1035"/>
          <ac:picMkLst>
            <pc:docMk/>
            <pc:sldMk cId="1990109457" sldId="2147478926"/>
            <ac:picMk id="38" creationId="{2265B63D-C2EE-3430-2623-0483C59DC007}"/>
          </ac:picMkLst>
        </pc:picChg>
        <pc:picChg chg="mod">
          <ac:chgData name="Engel, Troy [JJCUS NON-J&amp;J]" userId="eab39b0b-0874-4185-ab60-88940d3b579c" providerId="ADAL" clId="{7D2065E8-8C78-4F42-98FB-1C5288E349FC}" dt="2024-03-05T18:47:57.033" v="1500" actId="1035"/>
          <ac:picMkLst>
            <pc:docMk/>
            <pc:sldMk cId="1990109457" sldId="2147478926"/>
            <ac:picMk id="40" creationId="{C7957DCC-7341-FD76-D9E9-13463E674A8C}"/>
          </ac:picMkLst>
        </pc:picChg>
      </pc:sldChg>
      <pc:sldChg chg="addSp delSp modSp mod">
        <pc:chgData name="Engel, Troy [JJCUS NON-J&amp;J]" userId="eab39b0b-0874-4185-ab60-88940d3b579c" providerId="ADAL" clId="{7D2065E8-8C78-4F42-98FB-1C5288E349FC}" dt="2024-03-05T19:04:47.163" v="1833" actId="1076"/>
        <pc:sldMkLst>
          <pc:docMk/>
          <pc:sldMk cId="525180892" sldId="2147478927"/>
        </pc:sldMkLst>
        <pc:spChg chg="del">
          <ac:chgData name="Engel, Troy [JJCUS NON-J&amp;J]" userId="eab39b0b-0874-4185-ab60-88940d3b579c" providerId="ADAL" clId="{7D2065E8-8C78-4F42-98FB-1C5288E349FC}" dt="2024-03-05T18:44:48.962" v="1459" actId="478"/>
          <ac:spMkLst>
            <pc:docMk/>
            <pc:sldMk cId="525180892" sldId="2147478927"/>
            <ac:spMk id="2" creationId="{9EB2A66C-C05D-EE32-2BB8-A45D463F3942}"/>
          </ac:spMkLst>
        </pc:spChg>
        <pc:spChg chg="mod">
          <ac:chgData name="Engel, Troy [JJCUS NON-J&amp;J]" userId="eab39b0b-0874-4185-ab60-88940d3b579c" providerId="ADAL" clId="{7D2065E8-8C78-4F42-98FB-1C5288E349FC}" dt="2024-03-05T19:04:34.347" v="1823" actId="1036"/>
          <ac:spMkLst>
            <pc:docMk/>
            <pc:sldMk cId="525180892" sldId="2147478927"/>
            <ac:spMk id="3" creationId="{7E03508D-7F92-5FE9-5875-D18AFF4D759B}"/>
          </ac:spMkLst>
        </pc:spChg>
        <pc:spChg chg="mod">
          <ac:chgData name="Engel, Troy [JJCUS NON-J&amp;J]" userId="eab39b0b-0874-4185-ab60-88940d3b579c" providerId="ADAL" clId="{7D2065E8-8C78-4F42-98FB-1C5288E349FC}" dt="2024-03-05T18:46:24.058" v="1473" actId="1036"/>
          <ac:spMkLst>
            <pc:docMk/>
            <pc:sldMk cId="525180892" sldId="2147478927"/>
            <ac:spMk id="4" creationId="{3F28AF89-9386-5C0B-32B4-371532C02A85}"/>
          </ac:spMkLst>
        </pc:spChg>
        <pc:spChg chg="add del mod">
          <ac:chgData name="Engel, Troy [JJCUS NON-J&amp;J]" userId="eab39b0b-0874-4185-ab60-88940d3b579c" providerId="ADAL" clId="{7D2065E8-8C78-4F42-98FB-1C5288E349FC}" dt="2024-03-05T18:45:39.624" v="1461" actId="478"/>
          <ac:spMkLst>
            <pc:docMk/>
            <pc:sldMk cId="525180892" sldId="2147478927"/>
            <ac:spMk id="6" creationId="{3601A22E-5FD8-30F6-D899-9B58B490F6A2}"/>
          </ac:spMkLst>
        </pc:spChg>
        <pc:spChg chg="add mod">
          <ac:chgData name="Engel, Troy [JJCUS NON-J&amp;J]" userId="eab39b0b-0874-4185-ab60-88940d3b579c" providerId="ADAL" clId="{7D2065E8-8C78-4F42-98FB-1C5288E349FC}" dt="2024-03-05T18:45:42.390" v="1462"/>
          <ac:spMkLst>
            <pc:docMk/>
            <pc:sldMk cId="525180892" sldId="2147478927"/>
            <ac:spMk id="7" creationId="{3C1320EF-7C23-6C84-F9CF-3B4BC799B4A4}"/>
          </ac:spMkLst>
        </pc:spChg>
        <pc:spChg chg="add mod">
          <ac:chgData name="Engel, Troy [JJCUS NON-J&amp;J]" userId="eab39b0b-0874-4185-ab60-88940d3b579c" providerId="ADAL" clId="{7D2065E8-8C78-4F42-98FB-1C5288E349FC}" dt="2024-03-05T19:03:09.658" v="1758"/>
          <ac:spMkLst>
            <pc:docMk/>
            <pc:sldMk cId="525180892" sldId="2147478927"/>
            <ac:spMk id="9" creationId="{F8E6512F-D2F5-576F-5AB3-179923CE83BE}"/>
          </ac:spMkLst>
        </pc:spChg>
        <pc:spChg chg="mod">
          <ac:chgData name="Engel, Troy [JJCUS NON-J&amp;J]" userId="eab39b0b-0874-4185-ab60-88940d3b579c" providerId="ADAL" clId="{7D2065E8-8C78-4F42-98FB-1C5288E349FC}" dt="2024-03-05T19:04:45.258" v="1832" actId="1035"/>
          <ac:spMkLst>
            <pc:docMk/>
            <pc:sldMk cId="525180892" sldId="2147478927"/>
            <ac:spMk id="11" creationId="{11962DDE-3AC4-3344-E6AE-95084E4094A3}"/>
          </ac:spMkLst>
        </pc:spChg>
        <pc:spChg chg="mod">
          <ac:chgData name="Engel, Troy [JJCUS NON-J&amp;J]" userId="eab39b0b-0874-4185-ab60-88940d3b579c" providerId="ADAL" clId="{7D2065E8-8C78-4F42-98FB-1C5288E349FC}" dt="2024-03-05T18:46:24.058" v="1473" actId="1036"/>
          <ac:spMkLst>
            <pc:docMk/>
            <pc:sldMk cId="525180892" sldId="2147478927"/>
            <ac:spMk id="12" creationId="{E8757439-7A4A-480A-0D43-EC7881503343}"/>
          </ac:spMkLst>
        </pc:spChg>
        <pc:spChg chg="mod">
          <ac:chgData name="Engel, Troy [JJCUS NON-J&amp;J]" userId="eab39b0b-0874-4185-ab60-88940d3b579c" providerId="ADAL" clId="{7D2065E8-8C78-4F42-98FB-1C5288E349FC}" dt="2024-03-05T19:03:57.028" v="1793" actId="1035"/>
          <ac:spMkLst>
            <pc:docMk/>
            <pc:sldMk cId="525180892" sldId="2147478927"/>
            <ac:spMk id="16" creationId="{3876A0AC-1251-C825-8747-9B54661A887A}"/>
          </ac:spMkLst>
        </pc:spChg>
        <pc:picChg chg="mod">
          <ac:chgData name="Engel, Troy [JJCUS NON-J&amp;J]" userId="eab39b0b-0874-4185-ab60-88940d3b579c" providerId="ADAL" clId="{7D2065E8-8C78-4F42-98FB-1C5288E349FC}" dt="2024-03-05T19:04:47.163" v="1833" actId="1076"/>
          <ac:picMkLst>
            <pc:docMk/>
            <pc:sldMk cId="525180892" sldId="2147478927"/>
            <ac:picMk id="8" creationId="{8360A12F-840D-DC99-0BE2-C6201EB51198}"/>
          </ac:picMkLst>
        </pc:picChg>
        <pc:picChg chg="mod">
          <ac:chgData name="Engel, Troy [JJCUS NON-J&amp;J]" userId="eab39b0b-0874-4185-ab60-88940d3b579c" providerId="ADAL" clId="{7D2065E8-8C78-4F42-98FB-1C5288E349FC}" dt="2024-03-05T18:46:24.058" v="1473" actId="1036"/>
          <ac:picMkLst>
            <pc:docMk/>
            <pc:sldMk cId="525180892" sldId="2147478927"/>
            <ac:picMk id="13" creationId="{111CF335-2BC1-BD8E-420E-BDB6E69F0862}"/>
          </ac:picMkLst>
        </pc:picChg>
        <pc:picChg chg="mod">
          <ac:chgData name="Engel, Troy [JJCUS NON-J&amp;J]" userId="eab39b0b-0874-4185-ab60-88940d3b579c" providerId="ADAL" clId="{7D2065E8-8C78-4F42-98FB-1C5288E349FC}" dt="2024-03-05T18:46:24.058" v="1473" actId="1036"/>
          <ac:picMkLst>
            <pc:docMk/>
            <pc:sldMk cId="525180892" sldId="2147478927"/>
            <ac:picMk id="17" creationId="{EC9B1FCB-39C4-CDB3-9B4F-481B276F9F2E}"/>
          </ac:picMkLst>
        </pc:picChg>
        <pc:picChg chg="mod">
          <ac:chgData name="Engel, Troy [JJCUS NON-J&amp;J]" userId="eab39b0b-0874-4185-ab60-88940d3b579c" providerId="ADAL" clId="{7D2065E8-8C78-4F42-98FB-1C5288E349FC}" dt="2024-03-05T18:46:24.058" v="1473" actId="1036"/>
          <ac:picMkLst>
            <pc:docMk/>
            <pc:sldMk cId="525180892" sldId="2147478927"/>
            <ac:picMk id="22" creationId="{926652B3-1323-A49F-05E5-8E6F591A60C3}"/>
          </ac:picMkLst>
        </pc:picChg>
        <pc:picChg chg="mod">
          <ac:chgData name="Engel, Troy [JJCUS NON-J&amp;J]" userId="eab39b0b-0874-4185-ab60-88940d3b579c" providerId="ADAL" clId="{7D2065E8-8C78-4F42-98FB-1C5288E349FC}" dt="2024-03-05T18:46:24.058" v="1473" actId="1036"/>
          <ac:picMkLst>
            <pc:docMk/>
            <pc:sldMk cId="525180892" sldId="2147478927"/>
            <ac:picMk id="28" creationId="{9033D664-0D76-D64E-4648-75C89BD2308E}"/>
          </ac:picMkLst>
        </pc:picChg>
        <pc:picChg chg="mod">
          <ac:chgData name="Engel, Troy [JJCUS NON-J&amp;J]" userId="eab39b0b-0874-4185-ab60-88940d3b579c" providerId="ADAL" clId="{7D2065E8-8C78-4F42-98FB-1C5288E349FC}" dt="2024-03-05T18:46:24.058" v="1473" actId="1036"/>
          <ac:picMkLst>
            <pc:docMk/>
            <pc:sldMk cId="525180892" sldId="2147478927"/>
            <ac:picMk id="30" creationId="{EFD05BA0-3B20-3318-B25C-A308061CC27F}"/>
          </ac:picMkLst>
        </pc:picChg>
        <pc:picChg chg="mod">
          <ac:chgData name="Engel, Troy [JJCUS NON-J&amp;J]" userId="eab39b0b-0874-4185-ab60-88940d3b579c" providerId="ADAL" clId="{7D2065E8-8C78-4F42-98FB-1C5288E349FC}" dt="2024-03-05T18:46:24.058" v="1473" actId="1036"/>
          <ac:picMkLst>
            <pc:docMk/>
            <pc:sldMk cId="525180892" sldId="2147478927"/>
            <ac:picMk id="32" creationId="{C3348955-EE3E-AC80-42E3-46F23E5CAA70}"/>
          </ac:picMkLst>
        </pc:picChg>
        <pc:picChg chg="mod">
          <ac:chgData name="Engel, Troy [JJCUS NON-J&amp;J]" userId="eab39b0b-0874-4185-ab60-88940d3b579c" providerId="ADAL" clId="{7D2065E8-8C78-4F42-98FB-1C5288E349FC}" dt="2024-03-05T18:46:24.058" v="1473" actId="1036"/>
          <ac:picMkLst>
            <pc:docMk/>
            <pc:sldMk cId="525180892" sldId="2147478927"/>
            <ac:picMk id="34" creationId="{6BF8BAFC-1B20-8707-27AB-207B896C8360}"/>
          </ac:picMkLst>
        </pc:picChg>
        <pc:picChg chg="mod">
          <ac:chgData name="Engel, Troy [JJCUS NON-J&amp;J]" userId="eab39b0b-0874-4185-ab60-88940d3b579c" providerId="ADAL" clId="{7D2065E8-8C78-4F42-98FB-1C5288E349FC}" dt="2024-03-05T18:46:24.058" v="1473" actId="1036"/>
          <ac:picMkLst>
            <pc:docMk/>
            <pc:sldMk cId="525180892" sldId="2147478927"/>
            <ac:picMk id="36" creationId="{FA3FD835-382C-7C91-3965-BBEE0C7DBCF0}"/>
          </ac:picMkLst>
        </pc:picChg>
      </pc:sldChg>
      <pc:sldChg chg="addSp delSp modSp mod">
        <pc:chgData name="Engel, Troy [JJCUS NON-J&amp;J]" userId="eab39b0b-0874-4185-ab60-88940d3b579c" providerId="ADAL" clId="{7D2065E8-8C78-4F42-98FB-1C5288E349FC}" dt="2024-03-05T19:06:04.540" v="1846"/>
        <pc:sldMkLst>
          <pc:docMk/>
          <pc:sldMk cId="2661920015" sldId="2147478928"/>
        </pc:sldMkLst>
        <pc:spChg chg="del">
          <ac:chgData name="Engel, Troy [JJCUS NON-J&amp;J]" userId="eab39b0b-0874-4185-ab60-88940d3b579c" providerId="ADAL" clId="{7D2065E8-8C78-4F42-98FB-1C5288E349FC}" dt="2024-03-05T18:49:40.769" v="1559" actId="478"/>
          <ac:spMkLst>
            <pc:docMk/>
            <pc:sldMk cId="2661920015" sldId="2147478928"/>
            <ac:spMk id="2" creationId="{37BC1893-81F6-8E0C-CCE1-B6D7C7DD38B5}"/>
          </ac:spMkLst>
        </pc:spChg>
        <pc:spChg chg="mod">
          <ac:chgData name="Engel, Troy [JJCUS NON-J&amp;J]" userId="eab39b0b-0874-4185-ab60-88940d3b579c" providerId="ADAL" clId="{7D2065E8-8C78-4F42-98FB-1C5288E349FC}" dt="2024-03-05T18:49:34.334" v="1558" actId="1035"/>
          <ac:spMkLst>
            <pc:docMk/>
            <pc:sldMk cId="2661920015" sldId="2147478928"/>
            <ac:spMk id="3" creationId="{FF1C349A-C327-546F-C007-0099CA07D1B3}"/>
          </ac:spMkLst>
        </pc:spChg>
        <pc:spChg chg="add del mod">
          <ac:chgData name="Engel, Troy [JJCUS NON-J&amp;J]" userId="eab39b0b-0874-4185-ab60-88940d3b579c" providerId="ADAL" clId="{7D2065E8-8C78-4F42-98FB-1C5288E349FC}" dt="2024-03-05T18:49:43.887" v="1560" actId="478"/>
          <ac:spMkLst>
            <pc:docMk/>
            <pc:sldMk cId="2661920015" sldId="2147478928"/>
            <ac:spMk id="6" creationId="{E7E45D7D-22E9-CD6E-A72D-05A7D4A5D17C}"/>
          </ac:spMkLst>
        </pc:spChg>
        <pc:spChg chg="add mod">
          <ac:chgData name="Engel, Troy [JJCUS NON-J&amp;J]" userId="eab39b0b-0874-4185-ab60-88940d3b579c" providerId="ADAL" clId="{7D2065E8-8C78-4F42-98FB-1C5288E349FC}" dt="2024-03-05T19:06:04.540" v="1846"/>
          <ac:spMkLst>
            <pc:docMk/>
            <pc:sldMk cId="2661920015" sldId="2147478928"/>
            <ac:spMk id="7" creationId="{062C6266-B17B-1693-19FE-8E7AA622B40C}"/>
          </ac:spMkLst>
        </pc:spChg>
        <pc:spChg chg="mod">
          <ac:chgData name="Engel, Troy [JJCUS NON-J&amp;J]" userId="eab39b0b-0874-4185-ab60-88940d3b579c" providerId="ADAL" clId="{7D2065E8-8C78-4F42-98FB-1C5288E349FC}" dt="2024-03-05T18:49:34.334" v="1558" actId="1035"/>
          <ac:spMkLst>
            <pc:docMk/>
            <pc:sldMk cId="2661920015" sldId="2147478928"/>
            <ac:spMk id="11" creationId="{513E3F52-1F67-CB69-7621-CE074F54BC72}"/>
          </ac:spMkLst>
        </pc:spChg>
        <pc:spChg chg="mod">
          <ac:chgData name="Engel, Troy [JJCUS NON-J&amp;J]" userId="eab39b0b-0874-4185-ab60-88940d3b579c" providerId="ADAL" clId="{7D2065E8-8C78-4F42-98FB-1C5288E349FC}" dt="2024-03-05T18:49:15.876" v="1523" actId="1036"/>
          <ac:spMkLst>
            <pc:docMk/>
            <pc:sldMk cId="2661920015" sldId="2147478928"/>
            <ac:spMk id="12" creationId="{FA804300-B32B-846B-CA21-F91AB327268C}"/>
          </ac:spMkLst>
        </pc:spChg>
        <pc:spChg chg="mod">
          <ac:chgData name="Engel, Troy [JJCUS NON-J&amp;J]" userId="eab39b0b-0874-4185-ab60-88940d3b579c" providerId="ADAL" clId="{7D2065E8-8C78-4F42-98FB-1C5288E349FC}" dt="2024-03-05T18:49:15.876" v="1523" actId="1036"/>
          <ac:spMkLst>
            <pc:docMk/>
            <pc:sldMk cId="2661920015" sldId="2147478928"/>
            <ac:spMk id="16" creationId="{608D5F0C-D165-318A-8793-55D5B40A1939}"/>
          </ac:spMkLst>
        </pc:spChg>
        <pc:picChg chg="mod">
          <ac:chgData name="Engel, Troy [JJCUS NON-J&amp;J]" userId="eab39b0b-0874-4185-ab60-88940d3b579c" providerId="ADAL" clId="{7D2065E8-8C78-4F42-98FB-1C5288E349FC}" dt="2024-03-05T18:49:34.334" v="1558" actId="1035"/>
          <ac:picMkLst>
            <pc:docMk/>
            <pc:sldMk cId="2661920015" sldId="2147478928"/>
            <ac:picMk id="8" creationId="{8049E433-E1D2-D608-3F0F-121B1D31882B}"/>
          </ac:picMkLst>
        </pc:picChg>
      </pc:sldChg>
      <pc:sldChg chg="addSp delSp modSp mod">
        <pc:chgData name="Engel, Troy [JJCUS NON-J&amp;J]" userId="eab39b0b-0874-4185-ab60-88940d3b579c" providerId="ADAL" clId="{7D2065E8-8C78-4F42-98FB-1C5288E349FC}" dt="2024-03-05T19:06:27.345" v="1872"/>
        <pc:sldMkLst>
          <pc:docMk/>
          <pc:sldMk cId="642511546" sldId="2147478938"/>
        </pc:sldMkLst>
        <pc:spChg chg="del">
          <ac:chgData name="Engel, Troy [JJCUS NON-J&amp;J]" userId="eab39b0b-0874-4185-ab60-88940d3b579c" providerId="ADAL" clId="{7D2065E8-8C78-4F42-98FB-1C5288E349FC}" dt="2024-03-05T18:50:42.020" v="1592" actId="478"/>
          <ac:spMkLst>
            <pc:docMk/>
            <pc:sldMk cId="642511546" sldId="2147478938"/>
            <ac:spMk id="2" creationId="{A5E47568-F148-35E1-E8FC-C8B7D416BCE2}"/>
          </ac:spMkLst>
        </pc:spChg>
        <pc:spChg chg="mod">
          <ac:chgData name="Engel, Troy [JJCUS NON-J&amp;J]" userId="eab39b0b-0874-4185-ab60-88940d3b579c" providerId="ADAL" clId="{7D2065E8-8C78-4F42-98FB-1C5288E349FC}" dt="2024-03-05T19:06:17.837" v="1861" actId="1035"/>
          <ac:spMkLst>
            <pc:docMk/>
            <pc:sldMk cId="642511546" sldId="2147478938"/>
            <ac:spMk id="3" creationId="{AFEB77FB-B891-DF4F-7538-10DD64A55C79}"/>
          </ac:spMkLst>
        </pc:spChg>
        <pc:spChg chg="add del mod">
          <ac:chgData name="Engel, Troy [JJCUS NON-J&amp;J]" userId="eab39b0b-0874-4185-ab60-88940d3b579c" providerId="ADAL" clId="{7D2065E8-8C78-4F42-98FB-1C5288E349FC}" dt="2024-03-05T18:50:45.519" v="1593" actId="478"/>
          <ac:spMkLst>
            <pc:docMk/>
            <pc:sldMk cId="642511546" sldId="2147478938"/>
            <ac:spMk id="7" creationId="{2E5A4A61-BFD8-2A8F-1AD9-C083C5475F01}"/>
          </ac:spMkLst>
        </pc:spChg>
        <pc:spChg chg="add mod">
          <ac:chgData name="Engel, Troy [JJCUS NON-J&amp;J]" userId="eab39b0b-0874-4185-ab60-88940d3b579c" providerId="ADAL" clId="{7D2065E8-8C78-4F42-98FB-1C5288E349FC}" dt="2024-03-05T19:06:27.345" v="1872"/>
          <ac:spMkLst>
            <pc:docMk/>
            <pc:sldMk cId="642511546" sldId="2147478938"/>
            <ac:spMk id="8" creationId="{D5FDF359-E236-C951-1467-EBA2F63A0CF7}"/>
          </ac:spMkLst>
        </pc:spChg>
        <pc:spChg chg="mod">
          <ac:chgData name="Engel, Troy [JJCUS NON-J&amp;J]" userId="eab39b0b-0874-4185-ab60-88940d3b579c" providerId="ADAL" clId="{7D2065E8-8C78-4F42-98FB-1C5288E349FC}" dt="2024-03-05T19:06:22.853" v="1871" actId="1036"/>
          <ac:spMkLst>
            <pc:docMk/>
            <pc:sldMk cId="642511546" sldId="2147478938"/>
            <ac:spMk id="11" creationId="{E444FBA5-F04D-41A1-8BA8-89DFDA07FA6C}"/>
          </ac:spMkLst>
        </pc:spChg>
        <pc:spChg chg="mod">
          <ac:chgData name="Engel, Troy [JJCUS NON-J&amp;J]" userId="eab39b0b-0874-4185-ab60-88940d3b579c" providerId="ADAL" clId="{7D2065E8-8C78-4F42-98FB-1C5288E349FC}" dt="2024-03-05T18:50:36.678" v="1591" actId="1038"/>
          <ac:spMkLst>
            <pc:docMk/>
            <pc:sldMk cId="642511546" sldId="2147478938"/>
            <ac:spMk id="16" creationId="{F2384CFA-1EF6-69D3-DB77-EC3EA7F62813}"/>
          </ac:spMkLst>
        </pc:spChg>
      </pc:sldChg>
      <pc:sldChg chg="addSp delSp modSp mod">
        <pc:chgData name="Engel, Troy [JJCUS NON-J&amp;J]" userId="eab39b0b-0874-4185-ab60-88940d3b579c" providerId="ADAL" clId="{7D2065E8-8C78-4F42-98FB-1C5288E349FC}" dt="2024-03-05T19:06:37.002" v="1873"/>
        <pc:sldMkLst>
          <pc:docMk/>
          <pc:sldMk cId="2778571632" sldId="2147478939"/>
        </pc:sldMkLst>
        <pc:spChg chg="del">
          <ac:chgData name="Engel, Troy [JJCUS NON-J&amp;J]" userId="eab39b0b-0874-4185-ab60-88940d3b579c" providerId="ADAL" clId="{7D2065E8-8C78-4F42-98FB-1C5288E349FC}" dt="2024-03-05T18:52:04.768" v="1648" actId="478"/>
          <ac:spMkLst>
            <pc:docMk/>
            <pc:sldMk cId="2778571632" sldId="2147478939"/>
            <ac:spMk id="2" creationId="{238DEE38-D24B-8B75-3599-BDF473A9CF17}"/>
          </ac:spMkLst>
        </pc:spChg>
        <pc:spChg chg="mod">
          <ac:chgData name="Engel, Troy [JJCUS NON-J&amp;J]" userId="eab39b0b-0874-4185-ab60-88940d3b579c" providerId="ADAL" clId="{7D2065E8-8C78-4F42-98FB-1C5288E349FC}" dt="2024-03-05T18:51:58.329" v="1647" actId="1036"/>
          <ac:spMkLst>
            <pc:docMk/>
            <pc:sldMk cId="2778571632" sldId="2147478939"/>
            <ac:spMk id="3" creationId="{D4A0F315-D255-EA9A-F61B-B92D241DF6F7}"/>
          </ac:spMkLst>
        </pc:spChg>
        <pc:spChg chg="add del mod">
          <ac:chgData name="Engel, Troy [JJCUS NON-J&amp;J]" userId="eab39b0b-0874-4185-ab60-88940d3b579c" providerId="ADAL" clId="{7D2065E8-8C78-4F42-98FB-1C5288E349FC}" dt="2024-03-05T18:52:17.973" v="1649" actId="478"/>
          <ac:spMkLst>
            <pc:docMk/>
            <pc:sldMk cId="2778571632" sldId="2147478939"/>
            <ac:spMk id="6" creationId="{CA182E18-757E-D30B-2048-760D30D8AA08}"/>
          </ac:spMkLst>
        </pc:spChg>
        <pc:spChg chg="add mod">
          <ac:chgData name="Engel, Troy [JJCUS NON-J&amp;J]" userId="eab39b0b-0874-4185-ab60-88940d3b579c" providerId="ADAL" clId="{7D2065E8-8C78-4F42-98FB-1C5288E349FC}" dt="2024-03-05T19:06:37.002" v="1873"/>
          <ac:spMkLst>
            <pc:docMk/>
            <pc:sldMk cId="2778571632" sldId="2147478939"/>
            <ac:spMk id="7" creationId="{F4F12FD6-E5D1-007B-C457-9166227AF0FD}"/>
          </ac:spMkLst>
        </pc:spChg>
        <pc:spChg chg="mod">
          <ac:chgData name="Engel, Troy [JJCUS NON-J&amp;J]" userId="eab39b0b-0874-4185-ab60-88940d3b579c" providerId="ADAL" clId="{7D2065E8-8C78-4F42-98FB-1C5288E349FC}" dt="2024-03-05T18:51:58.329" v="1647" actId="1036"/>
          <ac:spMkLst>
            <pc:docMk/>
            <pc:sldMk cId="2778571632" sldId="2147478939"/>
            <ac:spMk id="11" creationId="{7AABFAEF-F67E-0797-31AB-878A0D3DA3A1}"/>
          </ac:spMkLst>
        </pc:spChg>
        <pc:spChg chg="mod">
          <ac:chgData name="Engel, Troy [JJCUS NON-J&amp;J]" userId="eab39b0b-0874-4185-ab60-88940d3b579c" providerId="ADAL" clId="{7D2065E8-8C78-4F42-98FB-1C5288E349FC}" dt="2024-03-05T18:51:34.271" v="1614" actId="1036"/>
          <ac:spMkLst>
            <pc:docMk/>
            <pc:sldMk cId="2778571632" sldId="2147478939"/>
            <ac:spMk id="12" creationId="{7C46A148-05F6-3087-F171-F0C2383FAB22}"/>
          </ac:spMkLst>
        </pc:spChg>
        <pc:picChg chg="mod">
          <ac:chgData name="Engel, Troy [JJCUS NON-J&amp;J]" userId="eab39b0b-0874-4185-ab60-88940d3b579c" providerId="ADAL" clId="{7D2065E8-8C78-4F42-98FB-1C5288E349FC}" dt="2024-03-05T18:51:58.329" v="1647" actId="1036"/>
          <ac:picMkLst>
            <pc:docMk/>
            <pc:sldMk cId="2778571632" sldId="2147478939"/>
            <ac:picMk id="10" creationId="{567F0628-F26A-178E-F118-0D22FBF15246}"/>
          </ac:picMkLst>
        </pc:picChg>
        <pc:picChg chg="mod">
          <ac:chgData name="Engel, Troy [JJCUS NON-J&amp;J]" userId="eab39b0b-0874-4185-ab60-88940d3b579c" providerId="ADAL" clId="{7D2065E8-8C78-4F42-98FB-1C5288E349FC}" dt="2024-03-05T18:51:34.271" v="1614" actId="1036"/>
          <ac:picMkLst>
            <pc:docMk/>
            <pc:sldMk cId="2778571632" sldId="2147478939"/>
            <ac:picMk id="15" creationId="{9EBB2BCE-9BA4-4485-DB26-35ED334F6E10}"/>
          </ac:picMkLst>
        </pc:picChg>
        <pc:picChg chg="mod">
          <ac:chgData name="Engel, Troy [JJCUS NON-J&amp;J]" userId="eab39b0b-0874-4185-ab60-88940d3b579c" providerId="ADAL" clId="{7D2065E8-8C78-4F42-98FB-1C5288E349FC}" dt="2024-03-05T18:51:34.271" v="1614" actId="1036"/>
          <ac:picMkLst>
            <pc:docMk/>
            <pc:sldMk cId="2778571632" sldId="2147478939"/>
            <ac:picMk id="18" creationId="{4AE126AB-376D-00C0-670E-9E62E8436529}"/>
          </ac:picMkLst>
        </pc:picChg>
      </pc:sldChg>
      <pc:sldChg chg="addSp delSp modSp mod">
        <pc:chgData name="Engel, Troy [JJCUS NON-J&amp;J]" userId="eab39b0b-0874-4185-ab60-88940d3b579c" providerId="ADAL" clId="{7D2065E8-8C78-4F42-98FB-1C5288E349FC}" dt="2024-03-05T19:06:45.518" v="1874"/>
        <pc:sldMkLst>
          <pc:docMk/>
          <pc:sldMk cId="1838741235" sldId="2147478940"/>
        </pc:sldMkLst>
        <pc:spChg chg="del">
          <ac:chgData name="Engel, Troy [JJCUS NON-J&amp;J]" userId="eab39b0b-0874-4185-ab60-88940d3b579c" providerId="ADAL" clId="{7D2065E8-8C78-4F42-98FB-1C5288E349FC}" dt="2024-03-05T18:53:12.524" v="1669" actId="478"/>
          <ac:spMkLst>
            <pc:docMk/>
            <pc:sldMk cId="1838741235" sldId="2147478940"/>
            <ac:spMk id="2" creationId="{9A6E5718-BD53-E490-62B7-0B12A0F23019}"/>
          </ac:spMkLst>
        </pc:spChg>
        <pc:spChg chg="mod">
          <ac:chgData name="Engel, Troy [JJCUS NON-J&amp;J]" userId="eab39b0b-0874-4185-ab60-88940d3b579c" providerId="ADAL" clId="{7D2065E8-8C78-4F42-98FB-1C5288E349FC}" dt="2024-03-05T18:53:04.660" v="1668" actId="1036"/>
          <ac:spMkLst>
            <pc:docMk/>
            <pc:sldMk cId="1838741235" sldId="2147478940"/>
            <ac:spMk id="3" creationId="{869DB3C4-8406-BCD6-9562-A70E411ED867}"/>
          </ac:spMkLst>
        </pc:spChg>
        <pc:spChg chg="add del mod">
          <ac:chgData name="Engel, Troy [JJCUS NON-J&amp;J]" userId="eab39b0b-0874-4185-ab60-88940d3b579c" providerId="ADAL" clId="{7D2065E8-8C78-4F42-98FB-1C5288E349FC}" dt="2024-03-05T18:53:18.913" v="1670" actId="478"/>
          <ac:spMkLst>
            <pc:docMk/>
            <pc:sldMk cId="1838741235" sldId="2147478940"/>
            <ac:spMk id="7" creationId="{B418310F-28F3-8F77-FD3B-1D08A0735B61}"/>
          </ac:spMkLst>
        </pc:spChg>
        <pc:spChg chg="add mod">
          <ac:chgData name="Engel, Troy [JJCUS NON-J&amp;J]" userId="eab39b0b-0874-4185-ab60-88940d3b579c" providerId="ADAL" clId="{7D2065E8-8C78-4F42-98FB-1C5288E349FC}" dt="2024-03-05T19:06:45.518" v="1874"/>
          <ac:spMkLst>
            <pc:docMk/>
            <pc:sldMk cId="1838741235" sldId="2147478940"/>
            <ac:spMk id="9" creationId="{AD3E2B7B-0951-320D-81C1-0B09D26628DA}"/>
          </ac:spMkLst>
        </pc:spChg>
        <pc:spChg chg="mod">
          <ac:chgData name="Engel, Troy [JJCUS NON-J&amp;J]" userId="eab39b0b-0874-4185-ab60-88940d3b579c" providerId="ADAL" clId="{7D2065E8-8C78-4F42-98FB-1C5288E349FC}" dt="2024-03-05T18:53:04.660" v="1668" actId="1036"/>
          <ac:spMkLst>
            <pc:docMk/>
            <pc:sldMk cId="1838741235" sldId="2147478940"/>
            <ac:spMk id="11" creationId="{975C5A68-C39A-52E3-4FD2-7090747C59CB}"/>
          </ac:spMkLst>
        </pc:spChg>
        <pc:spChg chg="mod">
          <ac:chgData name="Engel, Troy [JJCUS NON-J&amp;J]" userId="eab39b0b-0874-4185-ab60-88940d3b579c" providerId="ADAL" clId="{7D2065E8-8C78-4F42-98FB-1C5288E349FC}" dt="2024-03-05T18:53:04.660" v="1668" actId="1036"/>
          <ac:spMkLst>
            <pc:docMk/>
            <pc:sldMk cId="1838741235" sldId="2147478940"/>
            <ac:spMk id="16" creationId="{8ABB8109-8F0F-B40B-FFB7-46ECE9DCA6DF}"/>
          </ac:spMkLst>
        </pc:spChg>
        <pc:picChg chg="mod">
          <ac:chgData name="Engel, Troy [JJCUS NON-J&amp;J]" userId="eab39b0b-0874-4185-ab60-88940d3b579c" providerId="ADAL" clId="{7D2065E8-8C78-4F42-98FB-1C5288E349FC}" dt="2024-03-05T18:53:04.660" v="1668" actId="1036"/>
          <ac:picMkLst>
            <pc:docMk/>
            <pc:sldMk cId="1838741235" sldId="2147478940"/>
            <ac:picMk id="6" creationId="{361EF988-7268-81CB-0C78-5BE9E4DDB9AE}"/>
          </ac:picMkLst>
        </pc:picChg>
        <pc:picChg chg="mod">
          <ac:chgData name="Engel, Troy [JJCUS NON-J&amp;J]" userId="eab39b0b-0874-4185-ab60-88940d3b579c" providerId="ADAL" clId="{7D2065E8-8C78-4F42-98FB-1C5288E349FC}" dt="2024-03-05T18:53:04.660" v="1668" actId="1036"/>
          <ac:picMkLst>
            <pc:docMk/>
            <pc:sldMk cId="1838741235" sldId="2147478940"/>
            <ac:picMk id="8" creationId="{0BD72C4C-A144-8842-5DA3-BCFE1220328D}"/>
          </ac:picMkLst>
        </pc:picChg>
      </pc:sldChg>
      <pc:sldChg chg="addSp delSp modSp mod">
        <pc:chgData name="Engel, Troy [JJCUS NON-J&amp;J]" userId="eab39b0b-0874-4185-ab60-88940d3b579c" providerId="ADAL" clId="{7D2065E8-8C78-4F42-98FB-1C5288E349FC}" dt="2024-03-05T16:22:16.686" v="1284" actId="478"/>
        <pc:sldMkLst>
          <pc:docMk/>
          <pc:sldMk cId="458793354" sldId="2147478942"/>
        </pc:sldMkLst>
        <pc:spChg chg="mod">
          <ac:chgData name="Engel, Troy [JJCUS NON-J&amp;J]" userId="eab39b0b-0874-4185-ab60-88940d3b579c" providerId="ADAL" clId="{7D2065E8-8C78-4F42-98FB-1C5288E349FC}" dt="2024-03-05T16:20:05.801" v="1278" actId="14100"/>
          <ac:spMkLst>
            <pc:docMk/>
            <pc:sldMk cId="458793354" sldId="2147478942"/>
            <ac:spMk id="3" creationId="{56097C30-BD20-EFED-45C8-6D50FAB311B2}"/>
          </ac:spMkLst>
        </pc:spChg>
        <pc:picChg chg="add del mod">
          <ac:chgData name="Engel, Troy [JJCUS NON-J&amp;J]" userId="eab39b0b-0874-4185-ab60-88940d3b579c" providerId="ADAL" clId="{7D2065E8-8C78-4F42-98FB-1C5288E349FC}" dt="2024-03-05T16:22:16.686" v="1284" actId="478"/>
          <ac:picMkLst>
            <pc:docMk/>
            <pc:sldMk cId="458793354" sldId="2147478942"/>
            <ac:picMk id="5" creationId="{E049F982-7164-572C-EFD9-A3177A2F08BB}"/>
          </ac:picMkLst>
        </pc:picChg>
      </pc:sldChg>
      <pc:sldChg chg="modSp new del mod">
        <pc:chgData name="Engel, Troy [JJCUS NON-J&amp;J]" userId="eab39b0b-0874-4185-ab60-88940d3b579c" providerId="ADAL" clId="{7D2065E8-8C78-4F42-98FB-1C5288E349FC}" dt="2024-03-05T18:45:06.505" v="1460" actId="2696"/>
        <pc:sldMkLst>
          <pc:docMk/>
          <pc:sldMk cId="510685138" sldId="2147478944"/>
        </pc:sldMkLst>
        <pc:spChg chg="mod">
          <ac:chgData name="Engel, Troy [JJCUS NON-J&amp;J]" userId="eab39b0b-0874-4185-ab60-88940d3b579c" providerId="ADAL" clId="{7D2065E8-8C78-4F42-98FB-1C5288E349FC}" dt="2024-03-05T18:40:58.995" v="1411"/>
          <ac:spMkLst>
            <pc:docMk/>
            <pc:sldMk cId="510685138" sldId="2147478944"/>
            <ac:spMk id="2" creationId="{A882D115-9D72-7592-3F0B-05041863AF81}"/>
          </ac:spMkLst>
        </pc:spChg>
      </pc:sldChg>
    </pc:docChg>
  </pc:docChgLst>
  <pc:docChgLst>
    <pc:chgData name="Engel, Troy [JJCUS NON-J&amp;J]" userId="S::tengel@its.jnj.com::eab39b0b-0874-4185-ab60-88940d3b579c" providerId="AD" clId="Web-{FF17CCD4-DE69-6AB5-845C-23959169FFCE}"/>
    <pc:docChg chg="modSld">
      <pc:chgData name="Engel, Troy [JJCUS NON-J&amp;J]" userId="S::tengel@its.jnj.com::eab39b0b-0874-4185-ab60-88940d3b579c" providerId="AD" clId="Web-{FF17CCD4-DE69-6AB5-845C-23959169FFCE}" dt="2024-03-04T22:52:36.741" v="4" actId="1076"/>
      <pc:docMkLst>
        <pc:docMk/>
      </pc:docMkLst>
      <pc:sldChg chg="modSp">
        <pc:chgData name="Engel, Troy [JJCUS NON-J&amp;J]" userId="S::tengel@its.jnj.com::eab39b0b-0874-4185-ab60-88940d3b579c" providerId="AD" clId="Web-{FF17CCD4-DE69-6AB5-845C-23959169FFCE}" dt="2024-03-04T22:52:36.741" v="4" actId="1076"/>
        <pc:sldMkLst>
          <pc:docMk/>
          <pc:sldMk cId="2453225674" sldId="479"/>
        </pc:sldMkLst>
        <pc:graphicFrameChg chg="mod">
          <ac:chgData name="Engel, Troy [JJCUS NON-J&amp;J]" userId="S::tengel@its.jnj.com::eab39b0b-0874-4185-ab60-88940d3b579c" providerId="AD" clId="Web-{FF17CCD4-DE69-6AB5-845C-23959169FFCE}" dt="2024-03-04T22:52:10.740" v="1" actId="1076"/>
          <ac:graphicFrameMkLst>
            <pc:docMk/>
            <pc:sldMk cId="2453225674" sldId="479"/>
            <ac:graphicFrameMk id="2" creationId="{11AF8988-5274-3E3E-E17B-31538F0B5130}"/>
          </ac:graphicFrameMkLst>
        </pc:graphicFrameChg>
        <pc:graphicFrameChg chg="mod">
          <ac:chgData name="Engel, Troy [JJCUS NON-J&amp;J]" userId="S::tengel@its.jnj.com::eab39b0b-0874-4185-ab60-88940d3b579c" providerId="AD" clId="Web-{FF17CCD4-DE69-6AB5-845C-23959169FFCE}" dt="2024-03-04T22:52:26.147" v="3" actId="1076"/>
          <ac:graphicFrameMkLst>
            <pc:docMk/>
            <pc:sldMk cId="2453225674" sldId="479"/>
            <ac:graphicFrameMk id="4" creationId="{0BE1F36D-CE08-4E29-00E1-D6B715EC359F}"/>
          </ac:graphicFrameMkLst>
        </pc:graphicFrameChg>
        <pc:graphicFrameChg chg="mod">
          <ac:chgData name="Engel, Troy [JJCUS NON-J&amp;J]" userId="S::tengel@its.jnj.com::eab39b0b-0874-4185-ab60-88940d3b579c" providerId="AD" clId="Web-{FF17CCD4-DE69-6AB5-845C-23959169FFCE}" dt="2024-03-04T22:52:36.741" v="4" actId="1076"/>
          <ac:graphicFrameMkLst>
            <pc:docMk/>
            <pc:sldMk cId="2453225674" sldId="479"/>
            <ac:graphicFrameMk id="19" creationId="{DA28C93A-050C-0C4E-479C-685370ADC5C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88DF0A-13F4-419C-87F8-3631D3D155D7}"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973D036D-CFCF-4433-BB26-CB063FD65B5D}">
      <dgm:prSet custT="1"/>
      <dgm:spPr/>
      <dgm:t>
        <a:bodyPr/>
        <a:lstStyle/>
        <a:p>
          <a:r>
            <a:rPr lang="en-US" sz="1400" b="1" dirty="0">
              <a:solidFill>
                <a:schemeClr val="tx1"/>
              </a:solidFill>
              <a:latin typeface="+mn-lt"/>
              <a:cs typeface="Arial" pitchFamily="34" charset="0"/>
            </a:rPr>
            <a:t>9. OTI – SO Creation</a:t>
          </a:r>
        </a:p>
      </dgm:t>
    </dgm:pt>
    <dgm:pt modelId="{5F985DB7-82D2-4A3F-B42E-E45F4A93A2F2}" type="parTrans" cxnId="{6E993D2B-62E1-4E73-BDC8-11AEA3B69E48}">
      <dgm:prSet/>
      <dgm:spPr/>
      <dgm:t>
        <a:bodyPr/>
        <a:lstStyle/>
        <a:p>
          <a:endParaRPr lang="en-US" sz="1100">
            <a:solidFill>
              <a:schemeClr val="tx1"/>
            </a:solidFill>
            <a:latin typeface="+mn-lt"/>
          </a:endParaRPr>
        </a:p>
      </dgm:t>
    </dgm:pt>
    <dgm:pt modelId="{1BB09465-DB9E-43A8-8277-C0B80886B8D5}" type="sibTrans" cxnId="{6E993D2B-62E1-4E73-BDC8-11AEA3B69E48}">
      <dgm:prSet/>
      <dgm:spPr/>
      <dgm:t>
        <a:bodyPr/>
        <a:lstStyle/>
        <a:p>
          <a:endParaRPr lang="en-US" sz="1100">
            <a:solidFill>
              <a:schemeClr val="tx1"/>
            </a:solidFill>
            <a:latin typeface="+mn-lt"/>
          </a:endParaRPr>
        </a:p>
      </dgm:t>
    </dgm:pt>
    <dgm:pt modelId="{18638788-9766-4395-9D8B-ECBA18FD2687}">
      <dgm:prSet custT="1"/>
      <dgm:spPr/>
      <dgm:t>
        <a:bodyPr/>
        <a:lstStyle/>
        <a:p>
          <a:r>
            <a:rPr lang="en-US" sz="1400" dirty="0">
              <a:solidFill>
                <a:schemeClr val="tx1"/>
              </a:solidFill>
              <a:latin typeface="+mn-lt"/>
              <a:cs typeface="Arial" pitchFamily="34" charset="0"/>
            </a:rPr>
            <a:t>Customer Quote Acceptance to Quote Creation</a:t>
          </a:r>
        </a:p>
      </dgm:t>
    </dgm:pt>
    <dgm:pt modelId="{B041DBC4-6ABE-4B26-9E00-15BB5C66F476}" type="parTrans" cxnId="{EA13A726-54E9-40C4-9108-11332D9F982D}">
      <dgm:prSet/>
      <dgm:spPr/>
      <dgm:t>
        <a:bodyPr/>
        <a:lstStyle/>
        <a:p>
          <a:endParaRPr lang="en-US" sz="1100">
            <a:solidFill>
              <a:schemeClr val="tx1"/>
            </a:solidFill>
            <a:latin typeface="+mn-lt"/>
          </a:endParaRPr>
        </a:p>
      </dgm:t>
    </dgm:pt>
    <dgm:pt modelId="{5E1A8A70-B4EA-46E3-94B7-CFF1B30A3D5D}" type="sibTrans" cxnId="{EA13A726-54E9-40C4-9108-11332D9F982D}">
      <dgm:prSet/>
      <dgm:spPr/>
      <dgm:t>
        <a:bodyPr/>
        <a:lstStyle/>
        <a:p>
          <a:endParaRPr lang="en-US" sz="1100">
            <a:solidFill>
              <a:schemeClr val="tx1"/>
            </a:solidFill>
            <a:latin typeface="+mn-lt"/>
          </a:endParaRPr>
        </a:p>
      </dgm:t>
    </dgm:pt>
    <dgm:pt modelId="{9D634774-390F-4B18-85CC-3DA97FAECE70}">
      <dgm:prSet custT="1"/>
      <dgm:spPr/>
      <dgm:t>
        <a:bodyPr/>
        <a:lstStyle/>
        <a:p>
          <a:r>
            <a:rPr lang="en-US" sz="1400" b="1" dirty="0">
              <a:solidFill>
                <a:schemeClr val="tx1"/>
              </a:solidFill>
              <a:latin typeface="+mn-lt"/>
              <a:cs typeface="Arial" pitchFamily="34" charset="0"/>
            </a:rPr>
            <a:t>10. OTI- Order Fulfillment</a:t>
          </a:r>
        </a:p>
      </dgm:t>
    </dgm:pt>
    <dgm:pt modelId="{4DBF58C4-74C0-4CE6-86AC-D8AA34F4AAC0}" type="parTrans" cxnId="{AC18E1EF-28DC-403C-BCA6-1F206D3B53FE}">
      <dgm:prSet/>
      <dgm:spPr/>
      <dgm:t>
        <a:bodyPr/>
        <a:lstStyle/>
        <a:p>
          <a:endParaRPr lang="en-US" sz="1100">
            <a:solidFill>
              <a:schemeClr val="tx1"/>
            </a:solidFill>
            <a:latin typeface="+mn-lt"/>
          </a:endParaRPr>
        </a:p>
      </dgm:t>
    </dgm:pt>
    <dgm:pt modelId="{0BAE5341-33D0-4B4E-9200-FF97EB4F0F78}" type="sibTrans" cxnId="{AC18E1EF-28DC-403C-BCA6-1F206D3B53FE}">
      <dgm:prSet/>
      <dgm:spPr/>
      <dgm:t>
        <a:bodyPr/>
        <a:lstStyle/>
        <a:p>
          <a:endParaRPr lang="en-US" sz="1100">
            <a:solidFill>
              <a:schemeClr val="tx1"/>
            </a:solidFill>
            <a:latin typeface="+mn-lt"/>
          </a:endParaRPr>
        </a:p>
      </dgm:t>
    </dgm:pt>
    <dgm:pt modelId="{2A7E888D-CD8F-4D3E-A727-26A9CCEF5A92}">
      <dgm:prSet custT="1"/>
      <dgm:spPr/>
      <dgm:t>
        <a:bodyPr/>
        <a:lstStyle/>
        <a:p>
          <a:r>
            <a:rPr lang="en-US" sz="1400" dirty="0">
              <a:solidFill>
                <a:schemeClr val="tx1"/>
              </a:solidFill>
              <a:latin typeface="+mn-lt"/>
              <a:cs typeface="Arial" pitchFamily="34" charset="0"/>
            </a:rPr>
            <a:t>Order Receipt to Delivery</a:t>
          </a:r>
        </a:p>
      </dgm:t>
    </dgm:pt>
    <dgm:pt modelId="{2155D689-455E-4B50-A4B9-D32BC184D1BE}" type="parTrans" cxnId="{BC08C2C5-6995-41AD-BFEC-5CF1686B2F6C}">
      <dgm:prSet/>
      <dgm:spPr/>
      <dgm:t>
        <a:bodyPr/>
        <a:lstStyle/>
        <a:p>
          <a:endParaRPr lang="en-US" sz="1100">
            <a:solidFill>
              <a:schemeClr val="tx1"/>
            </a:solidFill>
            <a:latin typeface="+mn-lt"/>
          </a:endParaRPr>
        </a:p>
      </dgm:t>
    </dgm:pt>
    <dgm:pt modelId="{C2449087-B05A-442E-A91F-0CE37079D69E}" type="sibTrans" cxnId="{BC08C2C5-6995-41AD-BFEC-5CF1686B2F6C}">
      <dgm:prSet/>
      <dgm:spPr/>
      <dgm:t>
        <a:bodyPr/>
        <a:lstStyle/>
        <a:p>
          <a:endParaRPr lang="en-US" sz="1100">
            <a:solidFill>
              <a:schemeClr val="tx1"/>
            </a:solidFill>
            <a:latin typeface="+mn-lt"/>
          </a:endParaRPr>
        </a:p>
      </dgm:t>
    </dgm:pt>
    <dgm:pt modelId="{526875E5-4927-45C9-8453-78E4B16FF664}">
      <dgm:prSet custT="1"/>
      <dgm:spPr/>
      <dgm:t>
        <a:bodyPr/>
        <a:lstStyle/>
        <a:p>
          <a:r>
            <a:rPr lang="en-US" sz="1400" b="1" dirty="0">
              <a:solidFill>
                <a:schemeClr val="tx1"/>
              </a:solidFill>
              <a:latin typeface="+mn-lt"/>
              <a:cs typeface="Arial" pitchFamily="34" charset="0"/>
            </a:rPr>
            <a:t>11. Invoice to Cash – AR</a:t>
          </a:r>
        </a:p>
      </dgm:t>
    </dgm:pt>
    <dgm:pt modelId="{EC5EE77F-F7F9-4E37-9997-C71F99D9A871}" type="parTrans" cxnId="{6B78F10E-9C38-4108-913D-BE8403A46686}">
      <dgm:prSet/>
      <dgm:spPr/>
      <dgm:t>
        <a:bodyPr/>
        <a:lstStyle/>
        <a:p>
          <a:endParaRPr lang="en-US" sz="1100">
            <a:solidFill>
              <a:schemeClr val="tx1"/>
            </a:solidFill>
            <a:latin typeface="+mn-lt"/>
          </a:endParaRPr>
        </a:p>
      </dgm:t>
    </dgm:pt>
    <dgm:pt modelId="{BED8ACB0-A6F8-4F5C-BBAE-4899D46C43AA}" type="sibTrans" cxnId="{6B78F10E-9C38-4108-913D-BE8403A46686}">
      <dgm:prSet/>
      <dgm:spPr/>
      <dgm:t>
        <a:bodyPr/>
        <a:lstStyle/>
        <a:p>
          <a:endParaRPr lang="en-US" sz="1100">
            <a:solidFill>
              <a:schemeClr val="tx1"/>
            </a:solidFill>
            <a:latin typeface="+mn-lt"/>
          </a:endParaRPr>
        </a:p>
      </dgm:t>
    </dgm:pt>
    <dgm:pt modelId="{5F020AF8-660C-4136-A819-AB4B45F5AADC}">
      <dgm:prSet custT="1"/>
      <dgm:spPr/>
      <dgm:t>
        <a:bodyPr/>
        <a:lstStyle/>
        <a:p>
          <a:r>
            <a:rPr lang="en-US" sz="1050" dirty="0">
              <a:solidFill>
                <a:schemeClr val="tx1"/>
              </a:solidFill>
              <a:latin typeface="+mn-lt"/>
              <a:cs typeface="Arial" pitchFamily="34" charset="0"/>
            </a:rPr>
            <a:t>Invoice Creation to Clearance &amp; Credit Requests</a:t>
          </a:r>
        </a:p>
      </dgm:t>
    </dgm:pt>
    <dgm:pt modelId="{2ED99A09-E131-4004-BFB1-245845A822D4}" type="parTrans" cxnId="{655F10A4-91B8-4B52-868D-D066F793DC3F}">
      <dgm:prSet/>
      <dgm:spPr/>
      <dgm:t>
        <a:bodyPr/>
        <a:lstStyle/>
        <a:p>
          <a:endParaRPr lang="en-US" sz="1100">
            <a:solidFill>
              <a:schemeClr val="tx1"/>
            </a:solidFill>
            <a:latin typeface="+mn-lt"/>
          </a:endParaRPr>
        </a:p>
      </dgm:t>
    </dgm:pt>
    <dgm:pt modelId="{24B09BA2-E6CC-453B-A50A-B4B1B4127BAD}" type="sibTrans" cxnId="{655F10A4-91B8-4B52-868D-D066F793DC3F}">
      <dgm:prSet/>
      <dgm:spPr/>
      <dgm:t>
        <a:bodyPr/>
        <a:lstStyle/>
        <a:p>
          <a:endParaRPr lang="en-US" sz="1100">
            <a:solidFill>
              <a:schemeClr val="tx1"/>
            </a:solidFill>
            <a:latin typeface="+mn-lt"/>
          </a:endParaRPr>
        </a:p>
      </dgm:t>
    </dgm:pt>
    <dgm:pt modelId="{5E143545-3B5A-4EFB-A48A-A9B8A9E1F784}">
      <dgm:prSet custT="1"/>
      <dgm:spPr/>
      <dgm:t>
        <a:bodyPr/>
        <a:lstStyle/>
        <a:p>
          <a:r>
            <a:rPr lang="en-US" sz="1400" b="1" dirty="0">
              <a:solidFill>
                <a:schemeClr val="tx1"/>
              </a:solidFill>
              <a:latin typeface="+mn-lt"/>
              <a:cs typeface="Arial" pitchFamily="34" charset="0"/>
            </a:rPr>
            <a:t>8. OTI – Quote Creation</a:t>
          </a:r>
        </a:p>
      </dgm:t>
    </dgm:pt>
    <dgm:pt modelId="{BF8B41C6-973B-4448-BB9E-8D6F5CE428F7}" type="sibTrans" cxnId="{EC04939B-5C0A-4422-BE17-C22DB7820026}">
      <dgm:prSet/>
      <dgm:spPr/>
      <dgm:t>
        <a:bodyPr/>
        <a:lstStyle/>
        <a:p>
          <a:endParaRPr lang="en-US" sz="1100">
            <a:solidFill>
              <a:schemeClr val="tx1"/>
            </a:solidFill>
            <a:latin typeface="+mn-lt"/>
          </a:endParaRPr>
        </a:p>
      </dgm:t>
    </dgm:pt>
    <dgm:pt modelId="{3B00DBCC-7748-44D9-A6C1-BB75831B60A8}" type="parTrans" cxnId="{EC04939B-5C0A-4422-BE17-C22DB7820026}">
      <dgm:prSet/>
      <dgm:spPr/>
      <dgm:t>
        <a:bodyPr/>
        <a:lstStyle/>
        <a:p>
          <a:endParaRPr lang="en-US" sz="1100">
            <a:solidFill>
              <a:schemeClr val="tx1"/>
            </a:solidFill>
            <a:latin typeface="+mn-lt"/>
          </a:endParaRPr>
        </a:p>
      </dgm:t>
    </dgm:pt>
    <dgm:pt modelId="{03E113A1-4A70-4D98-9187-102A3A6B17D2}">
      <dgm:prSet custT="1"/>
      <dgm:spPr/>
      <dgm:t>
        <a:bodyPr/>
        <a:lstStyle/>
        <a:p>
          <a:r>
            <a:rPr lang="en-US" sz="1050" dirty="0">
              <a:solidFill>
                <a:schemeClr val="tx1"/>
              </a:solidFill>
              <a:latin typeface="+mn-lt"/>
              <a:cs typeface="Arial" pitchFamily="34" charset="0"/>
            </a:rPr>
            <a:t>Customer Demand Received to Customer Accepts Quote</a:t>
          </a:r>
        </a:p>
      </dgm:t>
    </dgm:pt>
    <dgm:pt modelId="{AAB825E4-B847-42C0-B249-8FD7E53D73B8}" type="sibTrans" cxnId="{BDA7EEA1-08E4-46A2-A508-279D8F36ED4F}">
      <dgm:prSet/>
      <dgm:spPr/>
      <dgm:t>
        <a:bodyPr/>
        <a:lstStyle/>
        <a:p>
          <a:endParaRPr lang="en-US" sz="1100">
            <a:solidFill>
              <a:schemeClr val="tx1"/>
            </a:solidFill>
            <a:latin typeface="+mn-lt"/>
          </a:endParaRPr>
        </a:p>
      </dgm:t>
    </dgm:pt>
    <dgm:pt modelId="{458A3998-9DA3-491C-9A41-5C3BF3D9C130}" type="parTrans" cxnId="{BDA7EEA1-08E4-46A2-A508-279D8F36ED4F}">
      <dgm:prSet/>
      <dgm:spPr/>
      <dgm:t>
        <a:bodyPr/>
        <a:lstStyle/>
        <a:p>
          <a:endParaRPr lang="en-US" sz="1100">
            <a:solidFill>
              <a:schemeClr val="tx1"/>
            </a:solidFill>
            <a:latin typeface="+mn-lt"/>
          </a:endParaRPr>
        </a:p>
      </dgm:t>
    </dgm:pt>
    <dgm:pt modelId="{FA2D55BA-6B07-40EC-A871-10BAEB67453D}" type="pres">
      <dgm:prSet presAssocID="{1C88DF0A-13F4-419C-87F8-3631D3D155D7}" presName="Name0" presStyleCnt="0">
        <dgm:presLayoutVars>
          <dgm:dir/>
          <dgm:resizeHandles val="exact"/>
        </dgm:presLayoutVars>
      </dgm:prSet>
      <dgm:spPr/>
    </dgm:pt>
    <dgm:pt modelId="{F5CFAB12-FA41-4D3F-A5F9-D8B9BBA2ADBA}" type="pres">
      <dgm:prSet presAssocID="{5E143545-3B5A-4EFB-A48A-A9B8A9E1F784}" presName="composite" presStyleCnt="0"/>
      <dgm:spPr/>
    </dgm:pt>
    <dgm:pt modelId="{28D134CF-F232-427A-9B39-6EEFA545ED37}" type="pres">
      <dgm:prSet presAssocID="{5E143545-3B5A-4EFB-A48A-A9B8A9E1F784}" presName="bgChev" presStyleLbl="node1" presStyleIdx="0" presStyleCnt="4"/>
      <dgm:spPr/>
    </dgm:pt>
    <dgm:pt modelId="{26DA72CF-063E-4D46-A166-995072254B08}" type="pres">
      <dgm:prSet presAssocID="{5E143545-3B5A-4EFB-A48A-A9B8A9E1F784}" presName="txNode" presStyleLbl="fgAcc1" presStyleIdx="0" presStyleCnt="4">
        <dgm:presLayoutVars>
          <dgm:bulletEnabled val="1"/>
        </dgm:presLayoutVars>
      </dgm:prSet>
      <dgm:spPr/>
    </dgm:pt>
    <dgm:pt modelId="{68191B12-113A-462C-ABD1-D7360D4E145B}" type="pres">
      <dgm:prSet presAssocID="{BF8B41C6-973B-4448-BB9E-8D6F5CE428F7}" presName="compositeSpace" presStyleCnt="0"/>
      <dgm:spPr/>
    </dgm:pt>
    <dgm:pt modelId="{9E56135A-4463-48E8-AE06-67191DBE2F19}" type="pres">
      <dgm:prSet presAssocID="{973D036D-CFCF-4433-BB26-CB063FD65B5D}" presName="composite" presStyleCnt="0"/>
      <dgm:spPr/>
    </dgm:pt>
    <dgm:pt modelId="{81CF6DCB-A955-46A7-A1E4-A982E1EEDC95}" type="pres">
      <dgm:prSet presAssocID="{973D036D-CFCF-4433-BB26-CB063FD65B5D}" presName="bgChev" presStyleLbl="node1" presStyleIdx="1" presStyleCnt="4"/>
      <dgm:spPr/>
    </dgm:pt>
    <dgm:pt modelId="{45FED5A9-561F-4EDE-994B-D05269439953}" type="pres">
      <dgm:prSet presAssocID="{973D036D-CFCF-4433-BB26-CB063FD65B5D}" presName="txNode" presStyleLbl="fgAcc1" presStyleIdx="1" presStyleCnt="4">
        <dgm:presLayoutVars>
          <dgm:bulletEnabled val="1"/>
        </dgm:presLayoutVars>
      </dgm:prSet>
      <dgm:spPr/>
    </dgm:pt>
    <dgm:pt modelId="{CAC1FF1C-4B5E-4D38-8CB4-398861B321BD}" type="pres">
      <dgm:prSet presAssocID="{1BB09465-DB9E-43A8-8277-C0B80886B8D5}" presName="compositeSpace" presStyleCnt="0"/>
      <dgm:spPr/>
    </dgm:pt>
    <dgm:pt modelId="{EEEB7117-480B-473D-B1CC-D497CF608C04}" type="pres">
      <dgm:prSet presAssocID="{9D634774-390F-4B18-85CC-3DA97FAECE70}" presName="composite" presStyleCnt="0"/>
      <dgm:spPr/>
    </dgm:pt>
    <dgm:pt modelId="{1D422018-5402-4BA5-B6FB-19B322BD0416}" type="pres">
      <dgm:prSet presAssocID="{9D634774-390F-4B18-85CC-3DA97FAECE70}" presName="bgChev" presStyleLbl="node1" presStyleIdx="2" presStyleCnt="4"/>
      <dgm:spPr/>
    </dgm:pt>
    <dgm:pt modelId="{DFC2D7CB-3239-4B23-8666-97D68D40396C}" type="pres">
      <dgm:prSet presAssocID="{9D634774-390F-4B18-85CC-3DA97FAECE70}" presName="txNode" presStyleLbl="fgAcc1" presStyleIdx="2" presStyleCnt="4">
        <dgm:presLayoutVars>
          <dgm:bulletEnabled val="1"/>
        </dgm:presLayoutVars>
      </dgm:prSet>
      <dgm:spPr/>
    </dgm:pt>
    <dgm:pt modelId="{517519FF-0878-4785-8DDA-EB070C8689B1}" type="pres">
      <dgm:prSet presAssocID="{0BAE5341-33D0-4B4E-9200-FF97EB4F0F78}" presName="compositeSpace" presStyleCnt="0"/>
      <dgm:spPr/>
    </dgm:pt>
    <dgm:pt modelId="{1036D70B-BA73-43FE-99A1-D987DE7F7C16}" type="pres">
      <dgm:prSet presAssocID="{526875E5-4927-45C9-8453-78E4B16FF664}" presName="composite" presStyleCnt="0"/>
      <dgm:spPr/>
    </dgm:pt>
    <dgm:pt modelId="{EDEC571D-00CC-461D-BF5A-0ADC1AD25E6B}" type="pres">
      <dgm:prSet presAssocID="{526875E5-4927-45C9-8453-78E4B16FF664}" presName="bgChev" presStyleLbl="node1" presStyleIdx="3" presStyleCnt="4"/>
      <dgm:spPr/>
    </dgm:pt>
    <dgm:pt modelId="{B918862D-FA33-4950-93B4-B377B8375A2C}" type="pres">
      <dgm:prSet presAssocID="{526875E5-4927-45C9-8453-78E4B16FF664}" presName="txNode" presStyleLbl="fgAcc1" presStyleIdx="3" presStyleCnt="4">
        <dgm:presLayoutVars>
          <dgm:bulletEnabled val="1"/>
        </dgm:presLayoutVars>
      </dgm:prSet>
      <dgm:spPr/>
    </dgm:pt>
  </dgm:ptLst>
  <dgm:cxnLst>
    <dgm:cxn modelId="{1C625902-6ABF-480A-92CF-F5CAAF59D953}" type="presOf" srcId="{5E143545-3B5A-4EFB-A48A-A9B8A9E1F784}" destId="{26DA72CF-063E-4D46-A166-995072254B08}" srcOrd="0" destOrd="0" presId="urn:microsoft.com/office/officeart/2005/8/layout/chevronAccent+Icon"/>
    <dgm:cxn modelId="{6B78F10E-9C38-4108-913D-BE8403A46686}" srcId="{1C88DF0A-13F4-419C-87F8-3631D3D155D7}" destId="{526875E5-4927-45C9-8453-78E4B16FF664}" srcOrd="3" destOrd="0" parTransId="{EC5EE77F-F7F9-4E37-9997-C71F99D9A871}" sibTransId="{BED8ACB0-A6F8-4F5C-BBAE-4899D46C43AA}"/>
    <dgm:cxn modelId="{9B5CAA21-64FB-4739-A5C7-D5991ED979DF}" type="presOf" srcId="{5F020AF8-660C-4136-A819-AB4B45F5AADC}" destId="{B918862D-FA33-4950-93B4-B377B8375A2C}" srcOrd="0" destOrd="1" presId="urn:microsoft.com/office/officeart/2005/8/layout/chevronAccent+Icon"/>
    <dgm:cxn modelId="{42B6D225-A773-4B51-B77C-22B0C752C051}" type="presOf" srcId="{973D036D-CFCF-4433-BB26-CB063FD65B5D}" destId="{45FED5A9-561F-4EDE-994B-D05269439953}" srcOrd="0" destOrd="0" presId="urn:microsoft.com/office/officeart/2005/8/layout/chevronAccent+Icon"/>
    <dgm:cxn modelId="{EA13A726-54E9-40C4-9108-11332D9F982D}" srcId="{973D036D-CFCF-4433-BB26-CB063FD65B5D}" destId="{18638788-9766-4395-9D8B-ECBA18FD2687}" srcOrd="0" destOrd="0" parTransId="{B041DBC4-6ABE-4B26-9E00-15BB5C66F476}" sibTransId="{5E1A8A70-B4EA-46E3-94B7-CFF1B30A3D5D}"/>
    <dgm:cxn modelId="{6E993D2B-62E1-4E73-BDC8-11AEA3B69E48}" srcId="{1C88DF0A-13F4-419C-87F8-3631D3D155D7}" destId="{973D036D-CFCF-4433-BB26-CB063FD65B5D}" srcOrd="1" destOrd="0" parTransId="{5F985DB7-82D2-4A3F-B42E-E45F4A93A2F2}" sibTransId="{1BB09465-DB9E-43A8-8277-C0B80886B8D5}"/>
    <dgm:cxn modelId="{3778565D-8E28-4480-8A92-4F69BD172402}" type="presOf" srcId="{1C88DF0A-13F4-419C-87F8-3631D3D155D7}" destId="{FA2D55BA-6B07-40EC-A871-10BAEB67453D}" srcOrd="0" destOrd="0" presId="urn:microsoft.com/office/officeart/2005/8/layout/chevronAccent+Icon"/>
    <dgm:cxn modelId="{6A9B9941-1CED-425C-ADE6-BB1E985BC0D8}" type="presOf" srcId="{18638788-9766-4395-9D8B-ECBA18FD2687}" destId="{45FED5A9-561F-4EDE-994B-D05269439953}" srcOrd="0" destOrd="1" presId="urn:microsoft.com/office/officeart/2005/8/layout/chevronAccent+Icon"/>
    <dgm:cxn modelId="{A9ABAF66-7E07-4545-BE71-813D0FEE4BF2}" type="presOf" srcId="{9D634774-390F-4B18-85CC-3DA97FAECE70}" destId="{DFC2D7CB-3239-4B23-8666-97D68D40396C}" srcOrd="0" destOrd="0" presId="urn:microsoft.com/office/officeart/2005/8/layout/chevronAccent+Icon"/>
    <dgm:cxn modelId="{9B4B1C82-43E7-4DD1-BA5C-B5EE68D0020A}" type="presOf" srcId="{03E113A1-4A70-4D98-9187-102A3A6B17D2}" destId="{26DA72CF-063E-4D46-A166-995072254B08}" srcOrd="0" destOrd="1" presId="urn:microsoft.com/office/officeart/2005/8/layout/chevronAccent+Icon"/>
    <dgm:cxn modelId="{61D75892-7D4D-415A-A223-6433DE3CB080}" type="presOf" srcId="{526875E5-4927-45C9-8453-78E4B16FF664}" destId="{B918862D-FA33-4950-93B4-B377B8375A2C}" srcOrd="0" destOrd="0" presId="urn:microsoft.com/office/officeart/2005/8/layout/chevronAccent+Icon"/>
    <dgm:cxn modelId="{EC04939B-5C0A-4422-BE17-C22DB7820026}" srcId="{1C88DF0A-13F4-419C-87F8-3631D3D155D7}" destId="{5E143545-3B5A-4EFB-A48A-A9B8A9E1F784}" srcOrd="0" destOrd="0" parTransId="{3B00DBCC-7748-44D9-A6C1-BB75831B60A8}" sibTransId="{BF8B41C6-973B-4448-BB9E-8D6F5CE428F7}"/>
    <dgm:cxn modelId="{4701CD9E-8609-4019-B2A8-447349E38F0E}" type="presOf" srcId="{2A7E888D-CD8F-4D3E-A727-26A9CCEF5A92}" destId="{DFC2D7CB-3239-4B23-8666-97D68D40396C}" srcOrd="0" destOrd="1" presId="urn:microsoft.com/office/officeart/2005/8/layout/chevronAccent+Icon"/>
    <dgm:cxn modelId="{BDA7EEA1-08E4-46A2-A508-279D8F36ED4F}" srcId="{5E143545-3B5A-4EFB-A48A-A9B8A9E1F784}" destId="{03E113A1-4A70-4D98-9187-102A3A6B17D2}" srcOrd="0" destOrd="0" parTransId="{458A3998-9DA3-491C-9A41-5C3BF3D9C130}" sibTransId="{AAB825E4-B847-42C0-B249-8FD7E53D73B8}"/>
    <dgm:cxn modelId="{655F10A4-91B8-4B52-868D-D066F793DC3F}" srcId="{526875E5-4927-45C9-8453-78E4B16FF664}" destId="{5F020AF8-660C-4136-A819-AB4B45F5AADC}" srcOrd="0" destOrd="0" parTransId="{2ED99A09-E131-4004-BFB1-245845A822D4}" sibTransId="{24B09BA2-E6CC-453B-A50A-B4B1B4127BAD}"/>
    <dgm:cxn modelId="{BC08C2C5-6995-41AD-BFEC-5CF1686B2F6C}" srcId="{9D634774-390F-4B18-85CC-3DA97FAECE70}" destId="{2A7E888D-CD8F-4D3E-A727-26A9CCEF5A92}" srcOrd="0" destOrd="0" parTransId="{2155D689-455E-4B50-A4B9-D32BC184D1BE}" sibTransId="{C2449087-B05A-442E-A91F-0CE37079D69E}"/>
    <dgm:cxn modelId="{AC18E1EF-28DC-403C-BCA6-1F206D3B53FE}" srcId="{1C88DF0A-13F4-419C-87F8-3631D3D155D7}" destId="{9D634774-390F-4B18-85CC-3DA97FAECE70}" srcOrd="2" destOrd="0" parTransId="{4DBF58C4-74C0-4CE6-86AC-D8AA34F4AAC0}" sibTransId="{0BAE5341-33D0-4B4E-9200-FF97EB4F0F78}"/>
    <dgm:cxn modelId="{3FADDB5B-61CC-4429-ADBB-622CC16C2001}" type="presParOf" srcId="{FA2D55BA-6B07-40EC-A871-10BAEB67453D}" destId="{F5CFAB12-FA41-4D3F-A5F9-D8B9BBA2ADBA}" srcOrd="0" destOrd="0" presId="urn:microsoft.com/office/officeart/2005/8/layout/chevronAccent+Icon"/>
    <dgm:cxn modelId="{0C2457FD-8432-4D50-9AB6-B0DD0F28B930}" type="presParOf" srcId="{F5CFAB12-FA41-4D3F-A5F9-D8B9BBA2ADBA}" destId="{28D134CF-F232-427A-9B39-6EEFA545ED37}" srcOrd="0" destOrd="0" presId="urn:microsoft.com/office/officeart/2005/8/layout/chevronAccent+Icon"/>
    <dgm:cxn modelId="{7884C1B4-2908-4AB6-8E3A-34142D7E5E26}" type="presParOf" srcId="{F5CFAB12-FA41-4D3F-A5F9-D8B9BBA2ADBA}" destId="{26DA72CF-063E-4D46-A166-995072254B08}" srcOrd="1" destOrd="0" presId="urn:microsoft.com/office/officeart/2005/8/layout/chevronAccent+Icon"/>
    <dgm:cxn modelId="{A2034B82-6931-4098-81E1-00F875870093}" type="presParOf" srcId="{FA2D55BA-6B07-40EC-A871-10BAEB67453D}" destId="{68191B12-113A-462C-ABD1-D7360D4E145B}" srcOrd="1" destOrd="0" presId="urn:microsoft.com/office/officeart/2005/8/layout/chevronAccent+Icon"/>
    <dgm:cxn modelId="{838F192F-47C1-40FF-A606-9CABCEF37D36}" type="presParOf" srcId="{FA2D55BA-6B07-40EC-A871-10BAEB67453D}" destId="{9E56135A-4463-48E8-AE06-67191DBE2F19}" srcOrd="2" destOrd="0" presId="urn:microsoft.com/office/officeart/2005/8/layout/chevronAccent+Icon"/>
    <dgm:cxn modelId="{1118ED60-53CC-4624-B2EC-C09BDA3BFB07}" type="presParOf" srcId="{9E56135A-4463-48E8-AE06-67191DBE2F19}" destId="{81CF6DCB-A955-46A7-A1E4-A982E1EEDC95}" srcOrd="0" destOrd="0" presId="urn:microsoft.com/office/officeart/2005/8/layout/chevronAccent+Icon"/>
    <dgm:cxn modelId="{90D11054-0313-40E5-A7FE-8566911251AF}" type="presParOf" srcId="{9E56135A-4463-48E8-AE06-67191DBE2F19}" destId="{45FED5A9-561F-4EDE-994B-D05269439953}" srcOrd="1" destOrd="0" presId="urn:microsoft.com/office/officeart/2005/8/layout/chevronAccent+Icon"/>
    <dgm:cxn modelId="{61EB51EC-4169-45B9-BE33-A5D572948197}" type="presParOf" srcId="{FA2D55BA-6B07-40EC-A871-10BAEB67453D}" destId="{CAC1FF1C-4B5E-4D38-8CB4-398861B321BD}" srcOrd="3" destOrd="0" presId="urn:microsoft.com/office/officeart/2005/8/layout/chevronAccent+Icon"/>
    <dgm:cxn modelId="{D1986FFD-2D6A-4EA7-9BB4-F507E727781B}" type="presParOf" srcId="{FA2D55BA-6B07-40EC-A871-10BAEB67453D}" destId="{EEEB7117-480B-473D-B1CC-D497CF608C04}" srcOrd="4" destOrd="0" presId="urn:microsoft.com/office/officeart/2005/8/layout/chevronAccent+Icon"/>
    <dgm:cxn modelId="{71140572-1CB6-48A2-9F16-E57E11741FB8}" type="presParOf" srcId="{EEEB7117-480B-473D-B1CC-D497CF608C04}" destId="{1D422018-5402-4BA5-B6FB-19B322BD0416}" srcOrd="0" destOrd="0" presId="urn:microsoft.com/office/officeart/2005/8/layout/chevronAccent+Icon"/>
    <dgm:cxn modelId="{CD07C297-53B0-43BF-9D1B-8BA01390C4F7}" type="presParOf" srcId="{EEEB7117-480B-473D-B1CC-D497CF608C04}" destId="{DFC2D7CB-3239-4B23-8666-97D68D40396C}" srcOrd="1" destOrd="0" presId="urn:microsoft.com/office/officeart/2005/8/layout/chevronAccent+Icon"/>
    <dgm:cxn modelId="{EDF795F3-ACD4-433B-A368-A341EA928DD8}" type="presParOf" srcId="{FA2D55BA-6B07-40EC-A871-10BAEB67453D}" destId="{517519FF-0878-4785-8DDA-EB070C8689B1}" srcOrd="5" destOrd="0" presId="urn:microsoft.com/office/officeart/2005/8/layout/chevronAccent+Icon"/>
    <dgm:cxn modelId="{4A462B51-9304-4C80-AB61-6344CE4D6548}" type="presParOf" srcId="{FA2D55BA-6B07-40EC-A871-10BAEB67453D}" destId="{1036D70B-BA73-43FE-99A1-D987DE7F7C16}" srcOrd="6" destOrd="0" presId="urn:microsoft.com/office/officeart/2005/8/layout/chevronAccent+Icon"/>
    <dgm:cxn modelId="{70AAA59D-E5C4-4D3F-8C77-38A293EDCDC8}" type="presParOf" srcId="{1036D70B-BA73-43FE-99A1-D987DE7F7C16}" destId="{EDEC571D-00CC-461D-BF5A-0ADC1AD25E6B}" srcOrd="0" destOrd="0" presId="urn:microsoft.com/office/officeart/2005/8/layout/chevronAccent+Icon"/>
    <dgm:cxn modelId="{4685E80B-8778-41FE-B84E-193D3222E0EF}" type="presParOf" srcId="{1036D70B-BA73-43FE-99A1-D987DE7F7C16}" destId="{B918862D-FA33-4950-93B4-B377B8375A2C}"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88DF0A-13F4-419C-87F8-3631D3D155D7}"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70902AC4-AB33-4897-95A0-F69A62E398BB}">
      <dgm:prSet phldrT="[Text]" custT="1"/>
      <dgm:spPr/>
      <dgm:t>
        <a:bodyPr/>
        <a:lstStyle/>
        <a:p>
          <a:r>
            <a:rPr lang="en-US" sz="1400" b="1" dirty="0">
              <a:solidFill>
                <a:schemeClr val="tx1"/>
              </a:solidFill>
              <a:latin typeface="+mn-lt"/>
              <a:cs typeface="Arial" pitchFamily="34" charset="0"/>
            </a:rPr>
            <a:t>1. Planning</a:t>
          </a:r>
          <a:endParaRPr lang="en-US" sz="1400" b="1" dirty="0">
            <a:solidFill>
              <a:schemeClr val="tx1"/>
            </a:solidFill>
            <a:latin typeface="+mn-lt"/>
          </a:endParaRPr>
        </a:p>
      </dgm:t>
    </dgm:pt>
    <dgm:pt modelId="{6825A8DA-1B00-40B7-AD34-30E43EFC752A}" type="parTrans" cxnId="{3BCB4C6D-852F-4C76-8A65-5B045C9117B0}">
      <dgm:prSet/>
      <dgm:spPr/>
      <dgm:t>
        <a:bodyPr/>
        <a:lstStyle/>
        <a:p>
          <a:endParaRPr lang="en-US" sz="1100">
            <a:solidFill>
              <a:schemeClr val="tx1"/>
            </a:solidFill>
            <a:latin typeface="+mn-lt"/>
          </a:endParaRPr>
        </a:p>
      </dgm:t>
    </dgm:pt>
    <dgm:pt modelId="{FC30B62E-8E22-491B-8575-515A98F11141}" type="sibTrans" cxnId="{3BCB4C6D-852F-4C76-8A65-5B045C9117B0}">
      <dgm:prSet/>
      <dgm:spPr/>
      <dgm:t>
        <a:bodyPr/>
        <a:lstStyle/>
        <a:p>
          <a:endParaRPr lang="en-US" sz="1100">
            <a:solidFill>
              <a:schemeClr val="tx1"/>
            </a:solidFill>
            <a:latin typeface="+mn-lt"/>
          </a:endParaRPr>
        </a:p>
      </dgm:t>
    </dgm:pt>
    <dgm:pt modelId="{010AB6E4-A007-455C-B17A-566C1378653D}">
      <dgm:prSet custT="1"/>
      <dgm:spPr/>
      <dgm:t>
        <a:bodyPr/>
        <a:lstStyle/>
        <a:p>
          <a:r>
            <a:rPr lang="en-US" sz="1400" b="1" dirty="0">
              <a:solidFill>
                <a:schemeClr val="tx1"/>
              </a:solidFill>
              <a:latin typeface="+mn-lt"/>
              <a:cs typeface="Arial" pitchFamily="34" charset="0"/>
            </a:rPr>
            <a:t>2. Customer Service</a:t>
          </a:r>
        </a:p>
      </dgm:t>
    </dgm:pt>
    <dgm:pt modelId="{3C573A55-301F-4338-8A1E-2C8766433577}" type="parTrans" cxnId="{08C3AB42-48D5-43C0-BBEC-921B493942A9}">
      <dgm:prSet/>
      <dgm:spPr/>
      <dgm:t>
        <a:bodyPr/>
        <a:lstStyle/>
        <a:p>
          <a:endParaRPr lang="en-US" sz="1100">
            <a:solidFill>
              <a:schemeClr val="tx1"/>
            </a:solidFill>
            <a:latin typeface="+mn-lt"/>
          </a:endParaRPr>
        </a:p>
      </dgm:t>
    </dgm:pt>
    <dgm:pt modelId="{02F890E9-783C-46D4-A1A0-C17832AE274B}" type="sibTrans" cxnId="{08C3AB42-48D5-43C0-BBEC-921B493942A9}">
      <dgm:prSet/>
      <dgm:spPr/>
      <dgm:t>
        <a:bodyPr/>
        <a:lstStyle/>
        <a:p>
          <a:endParaRPr lang="en-US" sz="1100">
            <a:solidFill>
              <a:schemeClr val="tx1"/>
            </a:solidFill>
            <a:latin typeface="+mn-lt"/>
          </a:endParaRPr>
        </a:p>
      </dgm:t>
    </dgm:pt>
    <dgm:pt modelId="{33E4D339-4C90-40A7-BBCE-70B8B1E255C4}">
      <dgm:prSet custT="1"/>
      <dgm:spPr/>
      <dgm:t>
        <a:bodyPr/>
        <a:lstStyle/>
        <a:p>
          <a:r>
            <a:rPr lang="en-US" sz="1400" b="1" dirty="0">
              <a:solidFill>
                <a:schemeClr val="tx1"/>
              </a:solidFill>
              <a:latin typeface="+mn-lt"/>
              <a:cs typeface="Arial" pitchFamily="34" charset="0"/>
            </a:rPr>
            <a:t>3. Supplier Maintenance</a:t>
          </a:r>
        </a:p>
      </dgm:t>
    </dgm:pt>
    <dgm:pt modelId="{8AD0EBB8-BE70-46A8-8298-62620E0EFD41}" type="parTrans" cxnId="{62DA5D79-FC34-4D52-824D-21A0BAC359D5}">
      <dgm:prSet/>
      <dgm:spPr/>
      <dgm:t>
        <a:bodyPr/>
        <a:lstStyle/>
        <a:p>
          <a:endParaRPr lang="en-US" sz="1100">
            <a:solidFill>
              <a:schemeClr val="tx1"/>
            </a:solidFill>
            <a:latin typeface="+mn-lt"/>
          </a:endParaRPr>
        </a:p>
      </dgm:t>
    </dgm:pt>
    <dgm:pt modelId="{CCD428C8-6E42-4E49-99F5-3E97D9F3EF40}" type="sibTrans" cxnId="{62DA5D79-FC34-4D52-824D-21A0BAC359D5}">
      <dgm:prSet/>
      <dgm:spPr/>
      <dgm:t>
        <a:bodyPr/>
        <a:lstStyle/>
        <a:p>
          <a:endParaRPr lang="en-US" sz="1100">
            <a:solidFill>
              <a:schemeClr val="tx1"/>
            </a:solidFill>
            <a:latin typeface="+mn-lt"/>
          </a:endParaRPr>
        </a:p>
      </dgm:t>
    </dgm:pt>
    <dgm:pt modelId="{093F9E03-DF39-46E8-8FD6-6133D79039AE}">
      <dgm:prSet phldrT="[Text]" custT="1"/>
      <dgm:spPr/>
      <dgm:t>
        <a:bodyPr/>
        <a:lstStyle/>
        <a:p>
          <a:r>
            <a:rPr lang="en-US" sz="1400" dirty="0">
              <a:solidFill>
                <a:schemeClr val="tx1"/>
              </a:solidFill>
              <a:latin typeface="+mn-lt"/>
              <a:cs typeface="Arial" pitchFamily="34" charset="0"/>
            </a:rPr>
            <a:t>Supply Chain Upload Product Master Data</a:t>
          </a:r>
          <a:endParaRPr lang="en-US" sz="1400" dirty="0">
            <a:solidFill>
              <a:schemeClr val="tx1"/>
            </a:solidFill>
            <a:latin typeface="+mn-lt"/>
          </a:endParaRPr>
        </a:p>
      </dgm:t>
    </dgm:pt>
    <dgm:pt modelId="{58447A28-41B1-4173-B521-6E326A793CB1}" type="parTrans" cxnId="{20BC46C8-A98D-4756-AD24-3CDAFC4EEE4A}">
      <dgm:prSet/>
      <dgm:spPr/>
      <dgm:t>
        <a:bodyPr/>
        <a:lstStyle/>
        <a:p>
          <a:endParaRPr lang="en-US" sz="1100">
            <a:solidFill>
              <a:schemeClr val="tx1"/>
            </a:solidFill>
            <a:latin typeface="+mn-lt"/>
          </a:endParaRPr>
        </a:p>
      </dgm:t>
    </dgm:pt>
    <dgm:pt modelId="{64ED35D8-47C0-4E36-9944-5D841B858A75}" type="sibTrans" cxnId="{20BC46C8-A98D-4756-AD24-3CDAFC4EEE4A}">
      <dgm:prSet/>
      <dgm:spPr/>
      <dgm:t>
        <a:bodyPr/>
        <a:lstStyle/>
        <a:p>
          <a:endParaRPr lang="en-US" sz="1100">
            <a:solidFill>
              <a:schemeClr val="tx1"/>
            </a:solidFill>
            <a:latin typeface="+mn-lt"/>
          </a:endParaRPr>
        </a:p>
      </dgm:t>
    </dgm:pt>
    <dgm:pt modelId="{88F8A2D9-74AD-491C-9C8D-C5D6C506F2F2}">
      <dgm:prSet custT="1"/>
      <dgm:spPr/>
      <dgm:t>
        <a:bodyPr/>
        <a:lstStyle/>
        <a:p>
          <a:r>
            <a:rPr lang="en-US" sz="1400" dirty="0">
              <a:solidFill>
                <a:schemeClr val="tx1"/>
              </a:solidFill>
              <a:latin typeface="+mn-lt"/>
              <a:cs typeface="Arial" pitchFamily="34" charset="0"/>
            </a:rPr>
            <a:t>Customer Account Management</a:t>
          </a:r>
        </a:p>
      </dgm:t>
    </dgm:pt>
    <dgm:pt modelId="{E82F50B5-4E28-4E3B-AF2B-69EF8FBEFC2D}" type="parTrans" cxnId="{A7E7F8EC-F435-4FA2-9B97-5E7E21C967DA}">
      <dgm:prSet/>
      <dgm:spPr/>
      <dgm:t>
        <a:bodyPr/>
        <a:lstStyle/>
        <a:p>
          <a:endParaRPr lang="en-US" sz="1100">
            <a:solidFill>
              <a:schemeClr val="tx1"/>
            </a:solidFill>
            <a:latin typeface="+mn-lt"/>
          </a:endParaRPr>
        </a:p>
      </dgm:t>
    </dgm:pt>
    <dgm:pt modelId="{57D3058B-5241-4915-930B-62165C6C6D07}" type="sibTrans" cxnId="{A7E7F8EC-F435-4FA2-9B97-5E7E21C967DA}">
      <dgm:prSet/>
      <dgm:spPr/>
      <dgm:t>
        <a:bodyPr/>
        <a:lstStyle/>
        <a:p>
          <a:endParaRPr lang="en-US" sz="1100">
            <a:solidFill>
              <a:schemeClr val="tx1"/>
            </a:solidFill>
            <a:latin typeface="+mn-lt"/>
          </a:endParaRPr>
        </a:p>
      </dgm:t>
    </dgm:pt>
    <dgm:pt modelId="{5A4E9DDF-76B4-48DA-B61B-5F270ABF6CA3}">
      <dgm:prSet custT="1"/>
      <dgm:spPr/>
      <dgm:t>
        <a:bodyPr/>
        <a:lstStyle/>
        <a:p>
          <a:r>
            <a:rPr lang="en-US" sz="1400" dirty="0">
              <a:solidFill>
                <a:schemeClr val="tx1"/>
              </a:solidFill>
              <a:latin typeface="+mn-lt"/>
              <a:cs typeface="Arial" pitchFamily="34" charset="0"/>
            </a:rPr>
            <a:t>Setup to Update or Deactivate</a:t>
          </a:r>
        </a:p>
      </dgm:t>
    </dgm:pt>
    <dgm:pt modelId="{B43C5DC2-0D27-45AB-B737-42FB69301E70}" type="parTrans" cxnId="{8BDE1058-62D8-405D-92DE-773B5E47E195}">
      <dgm:prSet/>
      <dgm:spPr/>
      <dgm:t>
        <a:bodyPr/>
        <a:lstStyle/>
        <a:p>
          <a:endParaRPr lang="en-US" sz="1100">
            <a:solidFill>
              <a:schemeClr val="tx1"/>
            </a:solidFill>
            <a:latin typeface="+mn-lt"/>
          </a:endParaRPr>
        </a:p>
      </dgm:t>
    </dgm:pt>
    <dgm:pt modelId="{6B4F9595-5157-4944-8663-2B4EB1B03BE1}" type="sibTrans" cxnId="{8BDE1058-62D8-405D-92DE-773B5E47E195}">
      <dgm:prSet/>
      <dgm:spPr/>
      <dgm:t>
        <a:bodyPr/>
        <a:lstStyle/>
        <a:p>
          <a:endParaRPr lang="en-US" sz="1100">
            <a:solidFill>
              <a:schemeClr val="tx1"/>
            </a:solidFill>
            <a:latin typeface="+mn-lt"/>
          </a:endParaRPr>
        </a:p>
      </dgm:t>
    </dgm:pt>
    <dgm:pt modelId="{FA2D55BA-6B07-40EC-A871-10BAEB67453D}" type="pres">
      <dgm:prSet presAssocID="{1C88DF0A-13F4-419C-87F8-3631D3D155D7}" presName="Name0" presStyleCnt="0">
        <dgm:presLayoutVars>
          <dgm:dir/>
          <dgm:resizeHandles val="exact"/>
        </dgm:presLayoutVars>
      </dgm:prSet>
      <dgm:spPr/>
    </dgm:pt>
    <dgm:pt modelId="{46D818C2-5F48-4F6F-B615-8F54228199B5}" type="pres">
      <dgm:prSet presAssocID="{70902AC4-AB33-4897-95A0-F69A62E398BB}" presName="composite" presStyleCnt="0"/>
      <dgm:spPr/>
    </dgm:pt>
    <dgm:pt modelId="{31070AD1-5003-499B-A026-4A722730A25F}" type="pres">
      <dgm:prSet presAssocID="{70902AC4-AB33-4897-95A0-F69A62E398BB}" presName="bgChev" presStyleLbl="node1" presStyleIdx="0" presStyleCnt="3"/>
      <dgm:spPr/>
    </dgm:pt>
    <dgm:pt modelId="{D131A7F5-E756-48FD-AF4F-CCD439BBA8DD}" type="pres">
      <dgm:prSet presAssocID="{70902AC4-AB33-4897-95A0-F69A62E398BB}" presName="txNode" presStyleLbl="fgAcc1" presStyleIdx="0" presStyleCnt="3">
        <dgm:presLayoutVars>
          <dgm:bulletEnabled val="1"/>
        </dgm:presLayoutVars>
      </dgm:prSet>
      <dgm:spPr/>
    </dgm:pt>
    <dgm:pt modelId="{CD5B07C7-4E60-4723-A058-D60A203BF8C7}" type="pres">
      <dgm:prSet presAssocID="{FC30B62E-8E22-491B-8575-515A98F11141}" presName="compositeSpace" presStyleCnt="0"/>
      <dgm:spPr/>
    </dgm:pt>
    <dgm:pt modelId="{8F89246D-3927-4F8F-8414-C02FB78B806D}" type="pres">
      <dgm:prSet presAssocID="{010AB6E4-A007-455C-B17A-566C1378653D}" presName="composite" presStyleCnt="0"/>
      <dgm:spPr/>
    </dgm:pt>
    <dgm:pt modelId="{3C2B654D-9A81-4D3A-8548-D5D550FD66AE}" type="pres">
      <dgm:prSet presAssocID="{010AB6E4-A007-455C-B17A-566C1378653D}" presName="bgChev" presStyleLbl="node1" presStyleIdx="1" presStyleCnt="3"/>
      <dgm:spPr/>
    </dgm:pt>
    <dgm:pt modelId="{9F16629A-47A7-4E14-892B-E0BD0CDFEEB3}" type="pres">
      <dgm:prSet presAssocID="{010AB6E4-A007-455C-B17A-566C1378653D}" presName="txNode" presStyleLbl="fgAcc1" presStyleIdx="1" presStyleCnt="3">
        <dgm:presLayoutVars>
          <dgm:bulletEnabled val="1"/>
        </dgm:presLayoutVars>
      </dgm:prSet>
      <dgm:spPr/>
    </dgm:pt>
    <dgm:pt modelId="{4BB2CE87-9043-44C5-8F80-CB2F76358E2A}" type="pres">
      <dgm:prSet presAssocID="{02F890E9-783C-46D4-A1A0-C17832AE274B}" presName="compositeSpace" presStyleCnt="0"/>
      <dgm:spPr/>
    </dgm:pt>
    <dgm:pt modelId="{4130E1FC-FD73-4CF0-95CF-4BDBAFA40BBF}" type="pres">
      <dgm:prSet presAssocID="{33E4D339-4C90-40A7-BBCE-70B8B1E255C4}" presName="composite" presStyleCnt="0"/>
      <dgm:spPr/>
    </dgm:pt>
    <dgm:pt modelId="{C060E34A-ECC2-45CC-8731-BD5D2386DEEA}" type="pres">
      <dgm:prSet presAssocID="{33E4D339-4C90-40A7-BBCE-70B8B1E255C4}" presName="bgChev" presStyleLbl="node1" presStyleIdx="2" presStyleCnt="3"/>
      <dgm:spPr/>
    </dgm:pt>
    <dgm:pt modelId="{C09CEF06-97D6-4028-B36B-767417AD37BD}" type="pres">
      <dgm:prSet presAssocID="{33E4D339-4C90-40A7-BBCE-70B8B1E255C4}" presName="txNode" presStyleLbl="fgAcc1" presStyleIdx="2" presStyleCnt="3">
        <dgm:presLayoutVars>
          <dgm:bulletEnabled val="1"/>
        </dgm:presLayoutVars>
      </dgm:prSet>
      <dgm:spPr/>
    </dgm:pt>
  </dgm:ptLst>
  <dgm:cxnLst>
    <dgm:cxn modelId="{E85C7B1B-C150-46BD-9FBB-E45C0353755A}" type="presOf" srcId="{5A4E9DDF-76B4-48DA-B61B-5F270ABF6CA3}" destId="{C09CEF06-97D6-4028-B36B-767417AD37BD}" srcOrd="0" destOrd="1" presId="urn:microsoft.com/office/officeart/2005/8/layout/chevronAccent+Icon"/>
    <dgm:cxn modelId="{CA5FAF33-16B5-499F-8106-B8A8FF0A7458}" type="presOf" srcId="{88F8A2D9-74AD-491C-9C8D-C5D6C506F2F2}" destId="{9F16629A-47A7-4E14-892B-E0BD0CDFEEB3}" srcOrd="0" destOrd="1" presId="urn:microsoft.com/office/officeart/2005/8/layout/chevronAccent+Icon"/>
    <dgm:cxn modelId="{C780FE3C-7EEC-4843-8596-E50FA1ABE425}" type="presOf" srcId="{70902AC4-AB33-4897-95A0-F69A62E398BB}" destId="{D131A7F5-E756-48FD-AF4F-CCD439BBA8DD}" srcOrd="0" destOrd="0" presId="urn:microsoft.com/office/officeart/2005/8/layout/chevronAccent+Icon"/>
    <dgm:cxn modelId="{3778565D-8E28-4480-8A92-4F69BD172402}" type="presOf" srcId="{1C88DF0A-13F4-419C-87F8-3631D3D155D7}" destId="{FA2D55BA-6B07-40EC-A871-10BAEB67453D}" srcOrd="0" destOrd="0" presId="urn:microsoft.com/office/officeart/2005/8/layout/chevronAccent+Icon"/>
    <dgm:cxn modelId="{08C3AB42-48D5-43C0-BBEC-921B493942A9}" srcId="{1C88DF0A-13F4-419C-87F8-3631D3D155D7}" destId="{010AB6E4-A007-455C-B17A-566C1378653D}" srcOrd="1" destOrd="0" parTransId="{3C573A55-301F-4338-8A1E-2C8766433577}" sibTransId="{02F890E9-783C-46D4-A1A0-C17832AE274B}"/>
    <dgm:cxn modelId="{3BCB4C6D-852F-4C76-8A65-5B045C9117B0}" srcId="{1C88DF0A-13F4-419C-87F8-3631D3D155D7}" destId="{70902AC4-AB33-4897-95A0-F69A62E398BB}" srcOrd="0" destOrd="0" parTransId="{6825A8DA-1B00-40B7-AD34-30E43EFC752A}" sibTransId="{FC30B62E-8E22-491B-8575-515A98F11141}"/>
    <dgm:cxn modelId="{8BDE1058-62D8-405D-92DE-773B5E47E195}" srcId="{33E4D339-4C90-40A7-BBCE-70B8B1E255C4}" destId="{5A4E9DDF-76B4-48DA-B61B-5F270ABF6CA3}" srcOrd="0" destOrd="0" parTransId="{B43C5DC2-0D27-45AB-B737-42FB69301E70}" sibTransId="{6B4F9595-5157-4944-8663-2B4EB1B03BE1}"/>
    <dgm:cxn modelId="{62DA5D79-FC34-4D52-824D-21A0BAC359D5}" srcId="{1C88DF0A-13F4-419C-87F8-3631D3D155D7}" destId="{33E4D339-4C90-40A7-BBCE-70B8B1E255C4}" srcOrd="2" destOrd="0" parTransId="{8AD0EBB8-BE70-46A8-8298-62620E0EFD41}" sibTransId="{CCD428C8-6E42-4E49-99F5-3E97D9F3EF40}"/>
    <dgm:cxn modelId="{9A91B497-F3C1-4387-A2F5-E7EA70F14234}" type="presOf" srcId="{010AB6E4-A007-455C-B17A-566C1378653D}" destId="{9F16629A-47A7-4E14-892B-E0BD0CDFEEB3}" srcOrd="0" destOrd="0" presId="urn:microsoft.com/office/officeart/2005/8/layout/chevronAccent+Icon"/>
    <dgm:cxn modelId="{9F5F23AE-F8F3-4C77-ABF0-7BC4DCDA2E8E}" type="presOf" srcId="{093F9E03-DF39-46E8-8FD6-6133D79039AE}" destId="{D131A7F5-E756-48FD-AF4F-CCD439BBA8DD}" srcOrd="0" destOrd="1" presId="urn:microsoft.com/office/officeart/2005/8/layout/chevronAccent+Icon"/>
    <dgm:cxn modelId="{20BC46C8-A98D-4756-AD24-3CDAFC4EEE4A}" srcId="{70902AC4-AB33-4897-95A0-F69A62E398BB}" destId="{093F9E03-DF39-46E8-8FD6-6133D79039AE}" srcOrd="0" destOrd="0" parTransId="{58447A28-41B1-4173-B521-6E326A793CB1}" sibTransId="{64ED35D8-47C0-4E36-9944-5D841B858A75}"/>
    <dgm:cxn modelId="{AA321CE2-AED7-4DA5-A449-2A957D4406D0}" type="presOf" srcId="{33E4D339-4C90-40A7-BBCE-70B8B1E255C4}" destId="{C09CEF06-97D6-4028-B36B-767417AD37BD}" srcOrd="0" destOrd="0" presId="urn:microsoft.com/office/officeart/2005/8/layout/chevronAccent+Icon"/>
    <dgm:cxn modelId="{A7E7F8EC-F435-4FA2-9B97-5E7E21C967DA}" srcId="{010AB6E4-A007-455C-B17A-566C1378653D}" destId="{88F8A2D9-74AD-491C-9C8D-C5D6C506F2F2}" srcOrd="0" destOrd="0" parTransId="{E82F50B5-4E28-4E3B-AF2B-69EF8FBEFC2D}" sibTransId="{57D3058B-5241-4915-930B-62165C6C6D07}"/>
    <dgm:cxn modelId="{551F74A6-F783-4FAF-9C3C-DD4D159C1357}" type="presParOf" srcId="{FA2D55BA-6B07-40EC-A871-10BAEB67453D}" destId="{46D818C2-5F48-4F6F-B615-8F54228199B5}" srcOrd="0" destOrd="0" presId="urn:microsoft.com/office/officeart/2005/8/layout/chevronAccent+Icon"/>
    <dgm:cxn modelId="{C566786F-1037-4F7B-91CB-673F490217C7}" type="presParOf" srcId="{46D818C2-5F48-4F6F-B615-8F54228199B5}" destId="{31070AD1-5003-499B-A026-4A722730A25F}" srcOrd="0" destOrd="0" presId="urn:microsoft.com/office/officeart/2005/8/layout/chevronAccent+Icon"/>
    <dgm:cxn modelId="{3D046E70-74D4-411B-99AB-945A9C4A33E1}" type="presParOf" srcId="{46D818C2-5F48-4F6F-B615-8F54228199B5}" destId="{D131A7F5-E756-48FD-AF4F-CCD439BBA8DD}" srcOrd="1" destOrd="0" presId="urn:microsoft.com/office/officeart/2005/8/layout/chevronAccent+Icon"/>
    <dgm:cxn modelId="{3EF6E29B-3F18-4266-A00E-E6CDC6D80BF1}" type="presParOf" srcId="{FA2D55BA-6B07-40EC-A871-10BAEB67453D}" destId="{CD5B07C7-4E60-4723-A058-D60A203BF8C7}" srcOrd="1" destOrd="0" presId="urn:microsoft.com/office/officeart/2005/8/layout/chevronAccent+Icon"/>
    <dgm:cxn modelId="{6E77171A-2ABF-473F-822C-0B78EF434E8C}" type="presParOf" srcId="{FA2D55BA-6B07-40EC-A871-10BAEB67453D}" destId="{8F89246D-3927-4F8F-8414-C02FB78B806D}" srcOrd="2" destOrd="0" presId="urn:microsoft.com/office/officeart/2005/8/layout/chevronAccent+Icon"/>
    <dgm:cxn modelId="{CDC9E138-B5F9-47E1-A3BD-0D3666541EF1}" type="presParOf" srcId="{8F89246D-3927-4F8F-8414-C02FB78B806D}" destId="{3C2B654D-9A81-4D3A-8548-D5D550FD66AE}" srcOrd="0" destOrd="0" presId="urn:microsoft.com/office/officeart/2005/8/layout/chevronAccent+Icon"/>
    <dgm:cxn modelId="{AF3210D6-1C6B-48AB-9B35-EEC146F3F32E}" type="presParOf" srcId="{8F89246D-3927-4F8F-8414-C02FB78B806D}" destId="{9F16629A-47A7-4E14-892B-E0BD0CDFEEB3}" srcOrd="1" destOrd="0" presId="urn:microsoft.com/office/officeart/2005/8/layout/chevronAccent+Icon"/>
    <dgm:cxn modelId="{C916C62C-D9D1-4EB0-B936-47E30B4CA6DD}" type="presParOf" srcId="{FA2D55BA-6B07-40EC-A871-10BAEB67453D}" destId="{4BB2CE87-9043-44C5-8F80-CB2F76358E2A}" srcOrd="3" destOrd="0" presId="urn:microsoft.com/office/officeart/2005/8/layout/chevronAccent+Icon"/>
    <dgm:cxn modelId="{0D9B690F-846F-4F0A-952A-C35B2D5536C9}" type="presParOf" srcId="{FA2D55BA-6B07-40EC-A871-10BAEB67453D}" destId="{4130E1FC-FD73-4CF0-95CF-4BDBAFA40BBF}" srcOrd="4" destOrd="0" presId="urn:microsoft.com/office/officeart/2005/8/layout/chevronAccent+Icon"/>
    <dgm:cxn modelId="{79CCEC25-A9E0-4C64-85E8-C7842E99147C}" type="presParOf" srcId="{4130E1FC-FD73-4CF0-95CF-4BDBAFA40BBF}" destId="{C060E34A-ECC2-45CC-8731-BD5D2386DEEA}" srcOrd="0" destOrd="0" presId="urn:microsoft.com/office/officeart/2005/8/layout/chevronAccent+Icon"/>
    <dgm:cxn modelId="{20FAB586-182A-476A-8A3F-C5DB3D119A8C}" type="presParOf" srcId="{4130E1FC-FD73-4CF0-95CF-4BDBAFA40BBF}" destId="{C09CEF06-97D6-4028-B36B-767417AD37BD}"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C88DF0A-13F4-419C-87F8-3631D3D155D7}"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186D0651-59AB-4558-BCF3-AFF6580DE10E}">
      <dgm:prSet custT="1"/>
      <dgm:spPr/>
      <dgm:t>
        <a:bodyPr/>
        <a:lstStyle/>
        <a:p>
          <a:r>
            <a:rPr lang="en-US" sz="1400" b="1" dirty="0">
              <a:solidFill>
                <a:schemeClr val="tx1"/>
              </a:solidFill>
              <a:latin typeface="+mn-lt"/>
              <a:cs typeface="Arial" pitchFamily="34" charset="0"/>
            </a:rPr>
            <a:t>4. Pricing &amp; Contracting</a:t>
          </a:r>
        </a:p>
      </dgm:t>
    </dgm:pt>
    <dgm:pt modelId="{AA6152DE-7558-47E0-B091-56B6A03079B4}" type="parTrans" cxnId="{49104750-F1D1-4608-839F-5B7B1DD44CFD}">
      <dgm:prSet/>
      <dgm:spPr/>
      <dgm:t>
        <a:bodyPr/>
        <a:lstStyle/>
        <a:p>
          <a:endParaRPr lang="en-US" sz="1100">
            <a:solidFill>
              <a:schemeClr val="tx1"/>
            </a:solidFill>
            <a:latin typeface="+mn-lt"/>
          </a:endParaRPr>
        </a:p>
      </dgm:t>
    </dgm:pt>
    <dgm:pt modelId="{5E17DE85-FB99-4E70-A68E-D19D0DA3DAC4}" type="sibTrans" cxnId="{49104750-F1D1-4608-839F-5B7B1DD44CFD}">
      <dgm:prSet/>
      <dgm:spPr/>
      <dgm:t>
        <a:bodyPr/>
        <a:lstStyle/>
        <a:p>
          <a:endParaRPr lang="en-US" sz="1100">
            <a:solidFill>
              <a:schemeClr val="tx1"/>
            </a:solidFill>
            <a:latin typeface="+mn-lt"/>
          </a:endParaRPr>
        </a:p>
      </dgm:t>
    </dgm:pt>
    <dgm:pt modelId="{1524CA8E-7416-458C-A9C7-5EDEC332E195}">
      <dgm:prSet custT="1"/>
      <dgm:spPr/>
      <dgm:t>
        <a:bodyPr/>
        <a:lstStyle/>
        <a:p>
          <a:r>
            <a:rPr lang="en-US" sz="1400" b="1" dirty="0">
              <a:solidFill>
                <a:schemeClr val="tx1"/>
              </a:solidFill>
              <a:latin typeface="+mn-lt"/>
              <a:cs typeface="Arial" pitchFamily="34" charset="0"/>
            </a:rPr>
            <a:t>5. Procure to Pay (P2P)</a:t>
          </a:r>
        </a:p>
      </dgm:t>
    </dgm:pt>
    <dgm:pt modelId="{D0A7A339-5DB4-46EE-8AFE-3328B8001473}" type="parTrans" cxnId="{3A5A5D26-CB29-4157-A4EF-F8823B96EDB5}">
      <dgm:prSet/>
      <dgm:spPr/>
      <dgm:t>
        <a:bodyPr/>
        <a:lstStyle/>
        <a:p>
          <a:endParaRPr lang="en-US" sz="1100">
            <a:solidFill>
              <a:schemeClr val="tx1"/>
            </a:solidFill>
            <a:latin typeface="+mn-lt"/>
          </a:endParaRPr>
        </a:p>
      </dgm:t>
    </dgm:pt>
    <dgm:pt modelId="{92635DE4-A623-4441-95C2-E3533712E634}" type="sibTrans" cxnId="{3A5A5D26-CB29-4157-A4EF-F8823B96EDB5}">
      <dgm:prSet/>
      <dgm:spPr/>
      <dgm:t>
        <a:bodyPr/>
        <a:lstStyle/>
        <a:p>
          <a:endParaRPr lang="en-US" sz="1100">
            <a:solidFill>
              <a:schemeClr val="tx1"/>
            </a:solidFill>
            <a:latin typeface="+mn-lt"/>
          </a:endParaRPr>
        </a:p>
      </dgm:t>
    </dgm:pt>
    <dgm:pt modelId="{3233B42B-4FBC-4EE1-858F-53675D43D902}">
      <dgm:prSet custT="1"/>
      <dgm:spPr/>
      <dgm:t>
        <a:bodyPr/>
        <a:lstStyle/>
        <a:p>
          <a:r>
            <a:rPr lang="en-US" sz="1400" b="1" dirty="0">
              <a:solidFill>
                <a:schemeClr val="tx1"/>
              </a:solidFill>
              <a:latin typeface="+mn-lt"/>
              <a:cs typeface="Arial" pitchFamily="34" charset="0"/>
            </a:rPr>
            <a:t>6. Device Reprocessing</a:t>
          </a:r>
        </a:p>
      </dgm:t>
    </dgm:pt>
    <dgm:pt modelId="{5B56AA4C-F1F1-4ECE-BF0C-E5731442A777}" type="parTrans" cxnId="{2A8AA57E-E355-4804-9406-A1C9A255A79B}">
      <dgm:prSet/>
      <dgm:spPr/>
      <dgm:t>
        <a:bodyPr/>
        <a:lstStyle/>
        <a:p>
          <a:endParaRPr lang="en-US" sz="1100">
            <a:solidFill>
              <a:schemeClr val="tx1"/>
            </a:solidFill>
            <a:latin typeface="+mn-lt"/>
          </a:endParaRPr>
        </a:p>
      </dgm:t>
    </dgm:pt>
    <dgm:pt modelId="{A6E798BB-6E4F-4E07-9AAD-5F86B443659F}" type="sibTrans" cxnId="{2A8AA57E-E355-4804-9406-A1C9A255A79B}">
      <dgm:prSet/>
      <dgm:spPr/>
      <dgm:t>
        <a:bodyPr/>
        <a:lstStyle/>
        <a:p>
          <a:endParaRPr lang="en-US" sz="1100">
            <a:solidFill>
              <a:schemeClr val="tx1"/>
            </a:solidFill>
            <a:latin typeface="+mn-lt"/>
          </a:endParaRPr>
        </a:p>
      </dgm:t>
    </dgm:pt>
    <dgm:pt modelId="{499CD5DB-BE4D-49E1-A872-F5502D720B73}">
      <dgm:prSet custT="1"/>
      <dgm:spPr/>
      <dgm:t>
        <a:bodyPr/>
        <a:lstStyle/>
        <a:p>
          <a:r>
            <a:rPr lang="en-US" sz="1400" dirty="0">
              <a:solidFill>
                <a:schemeClr val="tx1"/>
              </a:solidFill>
              <a:latin typeface="+mn-lt"/>
              <a:cs typeface="Arial" pitchFamily="34" charset="0"/>
            </a:rPr>
            <a:t>New Business to Final Agreement</a:t>
          </a:r>
        </a:p>
      </dgm:t>
    </dgm:pt>
    <dgm:pt modelId="{45B7C7E2-9AB1-44F0-99DF-EFD8206655E7}" type="parTrans" cxnId="{2785A926-46CA-4444-9EAE-C2474D442DAA}">
      <dgm:prSet/>
      <dgm:spPr/>
      <dgm:t>
        <a:bodyPr/>
        <a:lstStyle/>
        <a:p>
          <a:endParaRPr lang="en-US" sz="1100">
            <a:solidFill>
              <a:schemeClr val="tx1"/>
            </a:solidFill>
            <a:latin typeface="+mn-lt"/>
          </a:endParaRPr>
        </a:p>
      </dgm:t>
    </dgm:pt>
    <dgm:pt modelId="{071DA6A5-4FBB-4FB3-9EFD-1F58EF7645B0}" type="sibTrans" cxnId="{2785A926-46CA-4444-9EAE-C2474D442DAA}">
      <dgm:prSet/>
      <dgm:spPr/>
      <dgm:t>
        <a:bodyPr/>
        <a:lstStyle/>
        <a:p>
          <a:endParaRPr lang="en-US" sz="1100">
            <a:solidFill>
              <a:schemeClr val="tx1"/>
            </a:solidFill>
            <a:latin typeface="+mn-lt"/>
          </a:endParaRPr>
        </a:p>
      </dgm:t>
    </dgm:pt>
    <dgm:pt modelId="{1809B3D7-F1A1-48F4-8F29-F123A632EAAB}">
      <dgm:prSet custT="1"/>
      <dgm:spPr/>
      <dgm:t>
        <a:bodyPr/>
        <a:lstStyle/>
        <a:p>
          <a:r>
            <a:rPr lang="en-US" sz="1400" dirty="0">
              <a:solidFill>
                <a:schemeClr val="tx1"/>
              </a:solidFill>
              <a:latin typeface="+mn-lt"/>
              <a:cs typeface="Arial" pitchFamily="34" charset="0"/>
            </a:rPr>
            <a:t>SC Requisitioning to Goods Receipt</a:t>
          </a:r>
        </a:p>
      </dgm:t>
    </dgm:pt>
    <dgm:pt modelId="{26B0A61D-69E9-4931-9BAE-6A591502E4A4}" type="parTrans" cxnId="{CD31EBA6-1222-4927-B19B-7FB7F620B391}">
      <dgm:prSet/>
      <dgm:spPr/>
      <dgm:t>
        <a:bodyPr/>
        <a:lstStyle/>
        <a:p>
          <a:endParaRPr lang="en-US" sz="1100">
            <a:solidFill>
              <a:schemeClr val="tx1"/>
            </a:solidFill>
            <a:latin typeface="+mn-lt"/>
          </a:endParaRPr>
        </a:p>
      </dgm:t>
    </dgm:pt>
    <dgm:pt modelId="{F3B62942-D769-4A8D-AC3A-511B5CF480EB}" type="sibTrans" cxnId="{CD31EBA6-1222-4927-B19B-7FB7F620B391}">
      <dgm:prSet/>
      <dgm:spPr/>
      <dgm:t>
        <a:bodyPr/>
        <a:lstStyle/>
        <a:p>
          <a:endParaRPr lang="en-US" sz="1100">
            <a:solidFill>
              <a:schemeClr val="tx1"/>
            </a:solidFill>
            <a:latin typeface="+mn-lt"/>
          </a:endParaRPr>
        </a:p>
      </dgm:t>
    </dgm:pt>
    <dgm:pt modelId="{DF99652A-5550-4C21-8643-E0FF9A6E99B3}">
      <dgm:prSet custT="1"/>
      <dgm:spPr/>
      <dgm:t>
        <a:bodyPr/>
        <a:lstStyle/>
        <a:p>
          <a:r>
            <a:rPr lang="en-US" sz="1200" dirty="0">
              <a:solidFill>
                <a:schemeClr val="tx1"/>
              </a:solidFill>
              <a:latin typeface="+mn-lt"/>
              <a:cs typeface="Arial" pitchFamily="34" charset="0"/>
            </a:rPr>
            <a:t>Dirty Device Collection to Released FG Inventory</a:t>
          </a:r>
        </a:p>
      </dgm:t>
    </dgm:pt>
    <dgm:pt modelId="{0BA3BB7E-E2EA-4C98-A3A5-63A33A21024D}" type="parTrans" cxnId="{827CC033-3549-48B4-BA98-AFE073425C46}">
      <dgm:prSet/>
      <dgm:spPr/>
      <dgm:t>
        <a:bodyPr/>
        <a:lstStyle/>
        <a:p>
          <a:endParaRPr lang="en-US" sz="1100">
            <a:solidFill>
              <a:schemeClr val="tx1"/>
            </a:solidFill>
            <a:latin typeface="+mn-lt"/>
          </a:endParaRPr>
        </a:p>
      </dgm:t>
    </dgm:pt>
    <dgm:pt modelId="{A9975D87-A86A-49A2-B6C4-1ED74B31AB8A}" type="sibTrans" cxnId="{827CC033-3549-48B4-BA98-AFE073425C46}">
      <dgm:prSet/>
      <dgm:spPr/>
      <dgm:t>
        <a:bodyPr/>
        <a:lstStyle/>
        <a:p>
          <a:endParaRPr lang="en-US" sz="1100">
            <a:solidFill>
              <a:schemeClr val="tx1"/>
            </a:solidFill>
            <a:latin typeface="+mn-lt"/>
          </a:endParaRPr>
        </a:p>
      </dgm:t>
    </dgm:pt>
    <dgm:pt modelId="{8B520E76-D13F-482E-9232-A6C1F59B7D55}">
      <dgm:prSet custT="1"/>
      <dgm:spPr/>
      <dgm:t>
        <a:bodyPr/>
        <a:lstStyle/>
        <a:p>
          <a:r>
            <a:rPr lang="en-US" sz="1400" b="1" dirty="0">
              <a:solidFill>
                <a:schemeClr val="tx1"/>
              </a:solidFill>
              <a:latin typeface="+mn-lt"/>
              <a:cs typeface="Arial" pitchFamily="34" charset="0"/>
            </a:rPr>
            <a:t>7. Procure to Pay (P2P)</a:t>
          </a:r>
        </a:p>
      </dgm:t>
    </dgm:pt>
    <dgm:pt modelId="{B710A0A1-7A41-4370-87EA-460264EAE685}" type="parTrans" cxnId="{514FB49D-346D-4BDA-84BF-F5AB90AA4CD6}">
      <dgm:prSet/>
      <dgm:spPr/>
      <dgm:t>
        <a:bodyPr/>
        <a:lstStyle/>
        <a:p>
          <a:endParaRPr lang="en-US" sz="1100">
            <a:solidFill>
              <a:schemeClr val="tx1"/>
            </a:solidFill>
            <a:latin typeface="+mn-lt"/>
          </a:endParaRPr>
        </a:p>
      </dgm:t>
    </dgm:pt>
    <dgm:pt modelId="{56BD9051-C332-481B-9E99-75F7FDC3038D}" type="sibTrans" cxnId="{514FB49D-346D-4BDA-84BF-F5AB90AA4CD6}">
      <dgm:prSet/>
      <dgm:spPr/>
      <dgm:t>
        <a:bodyPr/>
        <a:lstStyle/>
        <a:p>
          <a:endParaRPr lang="en-US" sz="1100">
            <a:solidFill>
              <a:schemeClr val="tx1"/>
            </a:solidFill>
            <a:latin typeface="+mn-lt"/>
          </a:endParaRPr>
        </a:p>
      </dgm:t>
    </dgm:pt>
    <dgm:pt modelId="{280614DE-FEF4-4CF0-81D4-B6A5D4EE00CC}">
      <dgm:prSet custT="1"/>
      <dgm:spPr/>
      <dgm:t>
        <a:bodyPr/>
        <a:lstStyle/>
        <a:p>
          <a:r>
            <a:rPr lang="en-US" sz="1400" dirty="0">
              <a:solidFill>
                <a:schemeClr val="tx1"/>
              </a:solidFill>
              <a:latin typeface="+mn-lt"/>
              <a:cs typeface="Arial" pitchFamily="34" charset="0"/>
            </a:rPr>
            <a:t>AP Goods Receipt to Payment</a:t>
          </a:r>
        </a:p>
      </dgm:t>
    </dgm:pt>
    <dgm:pt modelId="{B8C81D1A-0E17-4EB4-8AAB-6FC182B24D11}" type="parTrans" cxnId="{F41D1547-16A4-4493-A584-BBE8E81E485A}">
      <dgm:prSet/>
      <dgm:spPr/>
      <dgm:t>
        <a:bodyPr/>
        <a:lstStyle/>
        <a:p>
          <a:endParaRPr lang="en-US" sz="1100">
            <a:solidFill>
              <a:schemeClr val="tx1"/>
            </a:solidFill>
            <a:latin typeface="+mn-lt"/>
          </a:endParaRPr>
        </a:p>
      </dgm:t>
    </dgm:pt>
    <dgm:pt modelId="{05247FCF-2976-4783-B4E7-17F46C7C4F3B}" type="sibTrans" cxnId="{F41D1547-16A4-4493-A584-BBE8E81E485A}">
      <dgm:prSet/>
      <dgm:spPr/>
      <dgm:t>
        <a:bodyPr/>
        <a:lstStyle/>
        <a:p>
          <a:endParaRPr lang="en-US" sz="1100">
            <a:solidFill>
              <a:schemeClr val="tx1"/>
            </a:solidFill>
            <a:latin typeface="+mn-lt"/>
          </a:endParaRPr>
        </a:p>
      </dgm:t>
    </dgm:pt>
    <dgm:pt modelId="{FA2D55BA-6B07-40EC-A871-10BAEB67453D}" type="pres">
      <dgm:prSet presAssocID="{1C88DF0A-13F4-419C-87F8-3631D3D155D7}" presName="Name0" presStyleCnt="0">
        <dgm:presLayoutVars>
          <dgm:dir/>
          <dgm:resizeHandles val="exact"/>
        </dgm:presLayoutVars>
      </dgm:prSet>
      <dgm:spPr/>
    </dgm:pt>
    <dgm:pt modelId="{43D5F419-1428-4E85-84AA-7E25F8F7D75A}" type="pres">
      <dgm:prSet presAssocID="{186D0651-59AB-4558-BCF3-AFF6580DE10E}" presName="composite" presStyleCnt="0"/>
      <dgm:spPr/>
    </dgm:pt>
    <dgm:pt modelId="{4D268531-C9B5-458A-9E00-C6110E17CA33}" type="pres">
      <dgm:prSet presAssocID="{186D0651-59AB-4558-BCF3-AFF6580DE10E}" presName="bgChev" presStyleLbl="node1" presStyleIdx="0" presStyleCnt="4"/>
      <dgm:spPr/>
    </dgm:pt>
    <dgm:pt modelId="{01FF7D3E-DD64-41AB-B386-E91B3785602B}" type="pres">
      <dgm:prSet presAssocID="{186D0651-59AB-4558-BCF3-AFF6580DE10E}" presName="txNode" presStyleLbl="fgAcc1" presStyleIdx="0" presStyleCnt="4">
        <dgm:presLayoutVars>
          <dgm:bulletEnabled val="1"/>
        </dgm:presLayoutVars>
      </dgm:prSet>
      <dgm:spPr/>
    </dgm:pt>
    <dgm:pt modelId="{BF87D2CC-D479-42DA-8A8F-2DAD8CBB312C}" type="pres">
      <dgm:prSet presAssocID="{5E17DE85-FB99-4E70-A68E-D19D0DA3DAC4}" presName="compositeSpace" presStyleCnt="0"/>
      <dgm:spPr/>
    </dgm:pt>
    <dgm:pt modelId="{A7ADA9E9-943A-4C9D-BA32-8BA1F51347D3}" type="pres">
      <dgm:prSet presAssocID="{1524CA8E-7416-458C-A9C7-5EDEC332E195}" presName="composite" presStyleCnt="0"/>
      <dgm:spPr/>
    </dgm:pt>
    <dgm:pt modelId="{0A2AEA55-61FC-430A-856B-C4DB04A01BFE}" type="pres">
      <dgm:prSet presAssocID="{1524CA8E-7416-458C-A9C7-5EDEC332E195}" presName="bgChev" presStyleLbl="node1" presStyleIdx="1" presStyleCnt="4"/>
      <dgm:spPr/>
    </dgm:pt>
    <dgm:pt modelId="{BC524A49-3D0B-45C8-9CD4-073A92870A4E}" type="pres">
      <dgm:prSet presAssocID="{1524CA8E-7416-458C-A9C7-5EDEC332E195}" presName="txNode" presStyleLbl="fgAcc1" presStyleIdx="1" presStyleCnt="4">
        <dgm:presLayoutVars>
          <dgm:bulletEnabled val="1"/>
        </dgm:presLayoutVars>
      </dgm:prSet>
      <dgm:spPr/>
    </dgm:pt>
    <dgm:pt modelId="{92E9066C-9739-490E-902A-72FAB3E1D536}" type="pres">
      <dgm:prSet presAssocID="{92635DE4-A623-4441-95C2-E3533712E634}" presName="compositeSpace" presStyleCnt="0"/>
      <dgm:spPr/>
    </dgm:pt>
    <dgm:pt modelId="{D09D8255-818B-4912-B752-6AAF2FB0690E}" type="pres">
      <dgm:prSet presAssocID="{3233B42B-4FBC-4EE1-858F-53675D43D902}" presName="composite" presStyleCnt="0"/>
      <dgm:spPr/>
    </dgm:pt>
    <dgm:pt modelId="{AF63AEFA-12CC-45D1-ADF5-32CBFE6C42F7}" type="pres">
      <dgm:prSet presAssocID="{3233B42B-4FBC-4EE1-858F-53675D43D902}" presName="bgChev" presStyleLbl="node1" presStyleIdx="2" presStyleCnt="4"/>
      <dgm:spPr/>
    </dgm:pt>
    <dgm:pt modelId="{01D5B747-A83F-4A57-ACE1-7B25D1045CDC}" type="pres">
      <dgm:prSet presAssocID="{3233B42B-4FBC-4EE1-858F-53675D43D902}" presName="txNode" presStyleLbl="fgAcc1" presStyleIdx="2" presStyleCnt="4">
        <dgm:presLayoutVars>
          <dgm:bulletEnabled val="1"/>
        </dgm:presLayoutVars>
      </dgm:prSet>
      <dgm:spPr/>
    </dgm:pt>
    <dgm:pt modelId="{EE11C461-E702-446F-9BD0-C1722DFBB8BC}" type="pres">
      <dgm:prSet presAssocID="{A6E798BB-6E4F-4E07-9AAD-5F86B443659F}" presName="compositeSpace" presStyleCnt="0"/>
      <dgm:spPr/>
    </dgm:pt>
    <dgm:pt modelId="{684967F5-47AA-4D62-97D0-ABA25E98D441}" type="pres">
      <dgm:prSet presAssocID="{8B520E76-D13F-482E-9232-A6C1F59B7D55}" presName="composite" presStyleCnt="0"/>
      <dgm:spPr/>
    </dgm:pt>
    <dgm:pt modelId="{A8ABC7AF-BAE3-475E-8437-3C62F4DF1FA4}" type="pres">
      <dgm:prSet presAssocID="{8B520E76-D13F-482E-9232-A6C1F59B7D55}" presName="bgChev" presStyleLbl="node1" presStyleIdx="3" presStyleCnt="4"/>
      <dgm:spPr/>
    </dgm:pt>
    <dgm:pt modelId="{51FF1BBC-A574-4277-AA93-8A13A4159BA0}" type="pres">
      <dgm:prSet presAssocID="{8B520E76-D13F-482E-9232-A6C1F59B7D55}" presName="txNode" presStyleLbl="fgAcc1" presStyleIdx="3" presStyleCnt="4">
        <dgm:presLayoutVars>
          <dgm:bulletEnabled val="1"/>
        </dgm:presLayoutVars>
      </dgm:prSet>
      <dgm:spPr/>
    </dgm:pt>
  </dgm:ptLst>
  <dgm:cxnLst>
    <dgm:cxn modelId="{3F117C03-CF81-428B-ABB0-E3C0F5D88327}" type="presOf" srcId="{280614DE-FEF4-4CF0-81D4-B6A5D4EE00CC}" destId="{51FF1BBC-A574-4277-AA93-8A13A4159BA0}" srcOrd="0" destOrd="1" presId="urn:microsoft.com/office/officeart/2005/8/layout/chevronAccent+Icon"/>
    <dgm:cxn modelId="{44EDBE22-79DB-4450-B737-B4825BA20356}" type="presOf" srcId="{186D0651-59AB-4558-BCF3-AFF6580DE10E}" destId="{01FF7D3E-DD64-41AB-B386-E91B3785602B}" srcOrd="0" destOrd="0" presId="urn:microsoft.com/office/officeart/2005/8/layout/chevronAccent+Icon"/>
    <dgm:cxn modelId="{3A5A5D26-CB29-4157-A4EF-F8823B96EDB5}" srcId="{1C88DF0A-13F4-419C-87F8-3631D3D155D7}" destId="{1524CA8E-7416-458C-A9C7-5EDEC332E195}" srcOrd="1" destOrd="0" parTransId="{D0A7A339-5DB4-46EE-8AFE-3328B8001473}" sibTransId="{92635DE4-A623-4441-95C2-E3533712E634}"/>
    <dgm:cxn modelId="{2785A926-46CA-4444-9EAE-C2474D442DAA}" srcId="{186D0651-59AB-4558-BCF3-AFF6580DE10E}" destId="{499CD5DB-BE4D-49E1-A872-F5502D720B73}" srcOrd="0" destOrd="0" parTransId="{45B7C7E2-9AB1-44F0-99DF-EFD8206655E7}" sibTransId="{071DA6A5-4FBB-4FB3-9EFD-1F58EF7645B0}"/>
    <dgm:cxn modelId="{827CC033-3549-48B4-BA98-AFE073425C46}" srcId="{3233B42B-4FBC-4EE1-858F-53675D43D902}" destId="{DF99652A-5550-4C21-8643-E0FF9A6E99B3}" srcOrd="0" destOrd="0" parTransId="{0BA3BB7E-E2EA-4C98-A3A5-63A33A21024D}" sibTransId="{A9975D87-A86A-49A2-B6C4-1ED74B31AB8A}"/>
    <dgm:cxn modelId="{90F0AF37-2113-4C7E-94C3-087682687A06}" type="presOf" srcId="{499CD5DB-BE4D-49E1-A872-F5502D720B73}" destId="{01FF7D3E-DD64-41AB-B386-E91B3785602B}" srcOrd="0" destOrd="1" presId="urn:microsoft.com/office/officeart/2005/8/layout/chevronAccent+Icon"/>
    <dgm:cxn modelId="{3778565D-8E28-4480-8A92-4F69BD172402}" type="presOf" srcId="{1C88DF0A-13F4-419C-87F8-3631D3D155D7}" destId="{FA2D55BA-6B07-40EC-A871-10BAEB67453D}" srcOrd="0" destOrd="0" presId="urn:microsoft.com/office/officeart/2005/8/layout/chevronAccent+Icon"/>
    <dgm:cxn modelId="{84E4A064-4868-45C3-856F-7BB25E253282}" type="presOf" srcId="{1524CA8E-7416-458C-A9C7-5EDEC332E195}" destId="{BC524A49-3D0B-45C8-9CD4-073A92870A4E}" srcOrd="0" destOrd="0" presId="urn:microsoft.com/office/officeart/2005/8/layout/chevronAccent+Icon"/>
    <dgm:cxn modelId="{F41D1547-16A4-4493-A584-BBE8E81E485A}" srcId="{8B520E76-D13F-482E-9232-A6C1F59B7D55}" destId="{280614DE-FEF4-4CF0-81D4-B6A5D4EE00CC}" srcOrd="0" destOrd="0" parTransId="{B8C81D1A-0E17-4EB4-8AAB-6FC182B24D11}" sibTransId="{05247FCF-2976-4783-B4E7-17F46C7C4F3B}"/>
    <dgm:cxn modelId="{978B646C-DFAF-406B-B209-CB55609A85EA}" type="presOf" srcId="{3233B42B-4FBC-4EE1-858F-53675D43D902}" destId="{01D5B747-A83F-4A57-ACE1-7B25D1045CDC}" srcOrd="0" destOrd="0" presId="urn:microsoft.com/office/officeart/2005/8/layout/chevronAccent+Icon"/>
    <dgm:cxn modelId="{49104750-F1D1-4608-839F-5B7B1DD44CFD}" srcId="{1C88DF0A-13F4-419C-87F8-3631D3D155D7}" destId="{186D0651-59AB-4558-BCF3-AFF6580DE10E}" srcOrd="0" destOrd="0" parTransId="{AA6152DE-7558-47E0-B091-56B6A03079B4}" sibTransId="{5E17DE85-FB99-4E70-A68E-D19D0DA3DAC4}"/>
    <dgm:cxn modelId="{DFE6C150-DF22-49ED-8C5B-9953CD60D76D}" type="presOf" srcId="{8B520E76-D13F-482E-9232-A6C1F59B7D55}" destId="{51FF1BBC-A574-4277-AA93-8A13A4159BA0}" srcOrd="0" destOrd="0" presId="urn:microsoft.com/office/officeart/2005/8/layout/chevronAccent+Icon"/>
    <dgm:cxn modelId="{2A8AA57E-E355-4804-9406-A1C9A255A79B}" srcId="{1C88DF0A-13F4-419C-87F8-3631D3D155D7}" destId="{3233B42B-4FBC-4EE1-858F-53675D43D902}" srcOrd="2" destOrd="0" parTransId="{5B56AA4C-F1F1-4ECE-BF0C-E5731442A777}" sibTransId="{A6E798BB-6E4F-4E07-9AAD-5F86B443659F}"/>
    <dgm:cxn modelId="{514FB49D-346D-4BDA-84BF-F5AB90AA4CD6}" srcId="{1C88DF0A-13F4-419C-87F8-3631D3D155D7}" destId="{8B520E76-D13F-482E-9232-A6C1F59B7D55}" srcOrd="3" destOrd="0" parTransId="{B710A0A1-7A41-4370-87EA-460264EAE685}" sibTransId="{56BD9051-C332-481B-9E99-75F7FDC3038D}"/>
    <dgm:cxn modelId="{CD31EBA6-1222-4927-B19B-7FB7F620B391}" srcId="{1524CA8E-7416-458C-A9C7-5EDEC332E195}" destId="{1809B3D7-F1A1-48F4-8F29-F123A632EAAB}" srcOrd="0" destOrd="0" parTransId="{26B0A61D-69E9-4931-9BAE-6A591502E4A4}" sibTransId="{F3B62942-D769-4A8D-AC3A-511B5CF480EB}"/>
    <dgm:cxn modelId="{3DEF57EA-84FD-4542-A45A-2C427359D679}" type="presOf" srcId="{DF99652A-5550-4C21-8643-E0FF9A6E99B3}" destId="{01D5B747-A83F-4A57-ACE1-7B25D1045CDC}" srcOrd="0" destOrd="1" presId="urn:microsoft.com/office/officeart/2005/8/layout/chevronAccent+Icon"/>
    <dgm:cxn modelId="{6FC48CEE-803D-4B16-8E75-BABB8BA627E5}" type="presOf" srcId="{1809B3D7-F1A1-48F4-8F29-F123A632EAAB}" destId="{BC524A49-3D0B-45C8-9CD4-073A92870A4E}" srcOrd="0" destOrd="1" presId="urn:microsoft.com/office/officeart/2005/8/layout/chevronAccent+Icon"/>
    <dgm:cxn modelId="{01B60FE8-A488-43F7-899F-BE9AB15167D1}" type="presParOf" srcId="{FA2D55BA-6B07-40EC-A871-10BAEB67453D}" destId="{43D5F419-1428-4E85-84AA-7E25F8F7D75A}" srcOrd="0" destOrd="0" presId="urn:microsoft.com/office/officeart/2005/8/layout/chevronAccent+Icon"/>
    <dgm:cxn modelId="{721A2ECD-0288-4AD9-ACA0-606889602ED7}" type="presParOf" srcId="{43D5F419-1428-4E85-84AA-7E25F8F7D75A}" destId="{4D268531-C9B5-458A-9E00-C6110E17CA33}" srcOrd="0" destOrd="0" presId="urn:microsoft.com/office/officeart/2005/8/layout/chevronAccent+Icon"/>
    <dgm:cxn modelId="{8B2DB453-C849-4345-9A9B-BF26688293FF}" type="presParOf" srcId="{43D5F419-1428-4E85-84AA-7E25F8F7D75A}" destId="{01FF7D3E-DD64-41AB-B386-E91B3785602B}" srcOrd="1" destOrd="0" presId="urn:microsoft.com/office/officeart/2005/8/layout/chevronAccent+Icon"/>
    <dgm:cxn modelId="{9FD160F8-9225-44E7-973F-E19A11B1258F}" type="presParOf" srcId="{FA2D55BA-6B07-40EC-A871-10BAEB67453D}" destId="{BF87D2CC-D479-42DA-8A8F-2DAD8CBB312C}" srcOrd="1" destOrd="0" presId="urn:microsoft.com/office/officeart/2005/8/layout/chevronAccent+Icon"/>
    <dgm:cxn modelId="{448F6D8F-6BBE-4DF7-9521-99200595B2DB}" type="presParOf" srcId="{FA2D55BA-6B07-40EC-A871-10BAEB67453D}" destId="{A7ADA9E9-943A-4C9D-BA32-8BA1F51347D3}" srcOrd="2" destOrd="0" presId="urn:microsoft.com/office/officeart/2005/8/layout/chevronAccent+Icon"/>
    <dgm:cxn modelId="{4515A1EB-8810-4F3B-BC0D-B36B61F310E3}" type="presParOf" srcId="{A7ADA9E9-943A-4C9D-BA32-8BA1F51347D3}" destId="{0A2AEA55-61FC-430A-856B-C4DB04A01BFE}" srcOrd="0" destOrd="0" presId="urn:microsoft.com/office/officeart/2005/8/layout/chevronAccent+Icon"/>
    <dgm:cxn modelId="{499314D6-FFDB-473F-8054-2F850085FEC3}" type="presParOf" srcId="{A7ADA9E9-943A-4C9D-BA32-8BA1F51347D3}" destId="{BC524A49-3D0B-45C8-9CD4-073A92870A4E}" srcOrd="1" destOrd="0" presId="urn:microsoft.com/office/officeart/2005/8/layout/chevronAccent+Icon"/>
    <dgm:cxn modelId="{3EEECB07-6823-49B9-9298-647A1D808E84}" type="presParOf" srcId="{FA2D55BA-6B07-40EC-A871-10BAEB67453D}" destId="{92E9066C-9739-490E-902A-72FAB3E1D536}" srcOrd="3" destOrd="0" presId="urn:microsoft.com/office/officeart/2005/8/layout/chevronAccent+Icon"/>
    <dgm:cxn modelId="{0227D8B3-7651-400E-9606-E322342C940A}" type="presParOf" srcId="{FA2D55BA-6B07-40EC-A871-10BAEB67453D}" destId="{D09D8255-818B-4912-B752-6AAF2FB0690E}" srcOrd="4" destOrd="0" presId="urn:microsoft.com/office/officeart/2005/8/layout/chevronAccent+Icon"/>
    <dgm:cxn modelId="{00252801-ECF3-4233-A90A-66CF13C98C7A}" type="presParOf" srcId="{D09D8255-818B-4912-B752-6AAF2FB0690E}" destId="{AF63AEFA-12CC-45D1-ADF5-32CBFE6C42F7}" srcOrd="0" destOrd="0" presId="urn:microsoft.com/office/officeart/2005/8/layout/chevronAccent+Icon"/>
    <dgm:cxn modelId="{59F207CC-4531-4F35-9ACB-B73D6CE545FF}" type="presParOf" srcId="{D09D8255-818B-4912-B752-6AAF2FB0690E}" destId="{01D5B747-A83F-4A57-ACE1-7B25D1045CDC}" srcOrd="1" destOrd="0" presId="urn:microsoft.com/office/officeart/2005/8/layout/chevronAccent+Icon"/>
    <dgm:cxn modelId="{F3926B50-7C8B-434E-AE09-D50A8BDB4C4E}" type="presParOf" srcId="{FA2D55BA-6B07-40EC-A871-10BAEB67453D}" destId="{EE11C461-E702-446F-9BD0-C1722DFBB8BC}" srcOrd="5" destOrd="0" presId="urn:microsoft.com/office/officeart/2005/8/layout/chevronAccent+Icon"/>
    <dgm:cxn modelId="{B0F33737-08FA-4031-BC2D-2D8F9097F0B8}" type="presParOf" srcId="{FA2D55BA-6B07-40EC-A871-10BAEB67453D}" destId="{684967F5-47AA-4D62-97D0-ABA25E98D441}" srcOrd="6" destOrd="0" presId="urn:microsoft.com/office/officeart/2005/8/layout/chevronAccent+Icon"/>
    <dgm:cxn modelId="{AF43CD5A-2F58-45F1-B37A-6BCF7BC17392}" type="presParOf" srcId="{684967F5-47AA-4D62-97D0-ABA25E98D441}" destId="{A8ABC7AF-BAE3-475E-8437-3C62F4DF1FA4}" srcOrd="0" destOrd="0" presId="urn:microsoft.com/office/officeart/2005/8/layout/chevronAccent+Icon"/>
    <dgm:cxn modelId="{F591D4A4-3808-417B-894C-5EE16DB955ED}" type="presParOf" srcId="{684967F5-47AA-4D62-97D0-ABA25E98D441}" destId="{51FF1BBC-A574-4277-AA93-8A13A4159BA0}"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D134CF-F232-427A-9B39-6EEFA545ED37}">
      <dsp:nvSpPr>
        <dsp:cNvPr id="0" name=""/>
        <dsp:cNvSpPr/>
      </dsp:nvSpPr>
      <dsp:spPr>
        <a:xfrm>
          <a:off x="6255"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DA72CF-063E-4D46-A166-995072254B08}">
      <dsp:nvSpPr>
        <dsp:cNvPr id="0" name=""/>
        <dsp:cNvSpPr/>
      </dsp:nvSpPr>
      <dsp:spPr>
        <a:xfrm>
          <a:off x="791352"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8. OTI – Quote Creation</a:t>
          </a:r>
        </a:p>
        <a:p>
          <a:pPr marL="57150" lvl="1" indent="-57150" algn="l" defTabSz="466725">
            <a:lnSpc>
              <a:spcPct val="90000"/>
            </a:lnSpc>
            <a:spcBef>
              <a:spcPct val="0"/>
            </a:spcBef>
            <a:spcAft>
              <a:spcPct val="15000"/>
            </a:spcAft>
            <a:buChar char="•"/>
          </a:pPr>
          <a:r>
            <a:rPr lang="en-US" sz="1050" kern="1200" dirty="0">
              <a:solidFill>
                <a:schemeClr val="tx1"/>
              </a:solidFill>
              <a:latin typeface="+mn-lt"/>
              <a:cs typeface="Arial" pitchFamily="34" charset="0"/>
            </a:rPr>
            <a:t>Customer Demand Received to Customer Accepts Quote</a:t>
          </a:r>
        </a:p>
      </dsp:txBody>
      <dsp:txXfrm>
        <a:off x="824637" y="1856227"/>
        <a:ext cx="2419570" cy="1069858"/>
      </dsp:txXfrm>
    </dsp:sp>
    <dsp:sp modelId="{81CF6DCB-A955-46A7-A1E4-A982E1EEDC95}">
      <dsp:nvSpPr>
        <dsp:cNvPr id="0" name=""/>
        <dsp:cNvSpPr/>
      </dsp:nvSpPr>
      <dsp:spPr>
        <a:xfrm>
          <a:off x="3369088"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FED5A9-561F-4EDE-994B-D05269439953}">
      <dsp:nvSpPr>
        <dsp:cNvPr id="0" name=""/>
        <dsp:cNvSpPr/>
      </dsp:nvSpPr>
      <dsp:spPr>
        <a:xfrm>
          <a:off x="4154185"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9. OTI – SO Creation</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Customer Quote Acceptance to Quote Creation</a:t>
          </a:r>
        </a:p>
      </dsp:txBody>
      <dsp:txXfrm>
        <a:off x="4187470" y="1856227"/>
        <a:ext cx="2419570" cy="1069858"/>
      </dsp:txXfrm>
    </dsp:sp>
    <dsp:sp modelId="{1D422018-5402-4BA5-B6FB-19B322BD0416}">
      <dsp:nvSpPr>
        <dsp:cNvPr id="0" name=""/>
        <dsp:cNvSpPr/>
      </dsp:nvSpPr>
      <dsp:spPr>
        <a:xfrm>
          <a:off x="6731920"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C2D7CB-3239-4B23-8666-97D68D40396C}">
      <dsp:nvSpPr>
        <dsp:cNvPr id="0" name=""/>
        <dsp:cNvSpPr/>
      </dsp:nvSpPr>
      <dsp:spPr>
        <a:xfrm>
          <a:off x="7517017"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10. OTI- Order Fulfillment</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Order Receipt to Delivery</a:t>
          </a:r>
        </a:p>
      </dsp:txBody>
      <dsp:txXfrm>
        <a:off x="7550302" y="1856227"/>
        <a:ext cx="2419570" cy="1069858"/>
      </dsp:txXfrm>
    </dsp:sp>
    <dsp:sp modelId="{EDEC571D-00CC-461D-BF5A-0ADC1AD25E6B}">
      <dsp:nvSpPr>
        <dsp:cNvPr id="0" name=""/>
        <dsp:cNvSpPr/>
      </dsp:nvSpPr>
      <dsp:spPr>
        <a:xfrm>
          <a:off x="10094753"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18862D-FA33-4950-93B4-B377B8375A2C}">
      <dsp:nvSpPr>
        <dsp:cNvPr id="0" name=""/>
        <dsp:cNvSpPr/>
      </dsp:nvSpPr>
      <dsp:spPr>
        <a:xfrm>
          <a:off x="10879850"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11. Invoice to Cash – AR</a:t>
          </a:r>
        </a:p>
        <a:p>
          <a:pPr marL="57150" lvl="1" indent="-57150" algn="l" defTabSz="466725">
            <a:lnSpc>
              <a:spcPct val="90000"/>
            </a:lnSpc>
            <a:spcBef>
              <a:spcPct val="0"/>
            </a:spcBef>
            <a:spcAft>
              <a:spcPct val="15000"/>
            </a:spcAft>
            <a:buChar char="•"/>
          </a:pPr>
          <a:r>
            <a:rPr lang="en-US" sz="1050" kern="1200" dirty="0">
              <a:solidFill>
                <a:schemeClr val="tx1"/>
              </a:solidFill>
              <a:latin typeface="+mn-lt"/>
              <a:cs typeface="Arial" pitchFamily="34" charset="0"/>
            </a:rPr>
            <a:t>Invoice Creation to Clearance &amp; Credit Requests</a:t>
          </a:r>
        </a:p>
      </dsp:txBody>
      <dsp:txXfrm>
        <a:off x="10913135" y="1856227"/>
        <a:ext cx="2419570" cy="10698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070AD1-5003-499B-A026-4A722730A25F}">
      <dsp:nvSpPr>
        <dsp:cNvPr id="0" name=""/>
        <dsp:cNvSpPr/>
      </dsp:nvSpPr>
      <dsp:spPr>
        <a:xfrm>
          <a:off x="1180" y="485567"/>
          <a:ext cx="2965470" cy="1144671"/>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31A7F5-E756-48FD-AF4F-CCD439BBA8DD}">
      <dsp:nvSpPr>
        <dsp:cNvPr id="0" name=""/>
        <dsp:cNvSpPr/>
      </dsp:nvSpPr>
      <dsp:spPr>
        <a:xfrm>
          <a:off x="791972" y="771735"/>
          <a:ext cx="2504175" cy="11446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1. Planning</a:t>
          </a:r>
          <a:endParaRPr lang="en-US" sz="1400" b="1" kern="1200" dirty="0">
            <a:solidFill>
              <a:schemeClr val="tx1"/>
            </a:solidFill>
            <a:latin typeface="+mn-lt"/>
          </a:endParaRP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Supply Chain Upload Product Master Data</a:t>
          </a:r>
          <a:endParaRPr lang="en-US" sz="1400" kern="1200" dirty="0">
            <a:solidFill>
              <a:schemeClr val="tx1"/>
            </a:solidFill>
            <a:latin typeface="+mn-lt"/>
          </a:endParaRPr>
        </a:p>
      </dsp:txBody>
      <dsp:txXfrm>
        <a:off x="825498" y="805261"/>
        <a:ext cx="2437123" cy="1077619"/>
      </dsp:txXfrm>
    </dsp:sp>
    <dsp:sp modelId="{3C2B654D-9A81-4D3A-8548-D5D550FD66AE}">
      <dsp:nvSpPr>
        <dsp:cNvPr id="0" name=""/>
        <dsp:cNvSpPr/>
      </dsp:nvSpPr>
      <dsp:spPr>
        <a:xfrm>
          <a:off x="3388406" y="485567"/>
          <a:ext cx="2965470" cy="1144671"/>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16629A-47A7-4E14-892B-E0BD0CDFEEB3}">
      <dsp:nvSpPr>
        <dsp:cNvPr id="0" name=""/>
        <dsp:cNvSpPr/>
      </dsp:nvSpPr>
      <dsp:spPr>
        <a:xfrm>
          <a:off x="4179198" y="771735"/>
          <a:ext cx="2504175" cy="11446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2. Customer Service</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Customer Account Management</a:t>
          </a:r>
        </a:p>
      </dsp:txBody>
      <dsp:txXfrm>
        <a:off x="4212724" y="805261"/>
        <a:ext cx="2437123" cy="1077619"/>
      </dsp:txXfrm>
    </dsp:sp>
    <dsp:sp modelId="{C060E34A-ECC2-45CC-8731-BD5D2386DEEA}">
      <dsp:nvSpPr>
        <dsp:cNvPr id="0" name=""/>
        <dsp:cNvSpPr/>
      </dsp:nvSpPr>
      <dsp:spPr>
        <a:xfrm>
          <a:off x="6775633" y="485567"/>
          <a:ext cx="2965470" cy="1144671"/>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9CEF06-97D6-4028-B36B-767417AD37BD}">
      <dsp:nvSpPr>
        <dsp:cNvPr id="0" name=""/>
        <dsp:cNvSpPr/>
      </dsp:nvSpPr>
      <dsp:spPr>
        <a:xfrm>
          <a:off x="7566425" y="771735"/>
          <a:ext cx="2504175" cy="11446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3. Supplier Maintenance</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Setup to Update or Deactivate</a:t>
          </a:r>
        </a:p>
      </dsp:txBody>
      <dsp:txXfrm>
        <a:off x="7599951" y="805261"/>
        <a:ext cx="2437123" cy="10776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268531-C9B5-458A-9E00-C6110E17CA33}">
      <dsp:nvSpPr>
        <dsp:cNvPr id="0" name=""/>
        <dsp:cNvSpPr/>
      </dsp:nvSpPr>
      <dsp:spPr>
        <a:xfrm>
          <a:off x="6255"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FF7D3E-DD64-41AB-B386-E91B3785602B}">
      <dsp:nvSpPr>
        <dsp:cNvPr id="0" name=""/>
        <dsp:cNvSpPr/>
      </dsp:nvSpPr>
      <dsp:spPr>
        <a:xfrm>
          <a:off x="791352"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4. Pricing &amp; Contracting</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New Business to Final Agreement</a:t>
          </a:r>
        </a:p>
      </dsp:txBody>
      <dsp:txXfrm>
        <a:off x="824637" y="1856227"/>
        <a:ext cx="2419570" cy="1069858"/>
      </dsp:txXfrm>
    </dsp:sp>
    <dsp:sp modelId="{0A2AEA55-61FC-430A-856B-C4DB04A01BFE}">
      <dsp:nvSpPr>
        <dsp:cNvPr id="0" name=""/>
        <dsp:cNvSpPr/>
      </dsp:nvSpPr>
      <dsp:spPr>
        <a:xfrm>
          <a:off x="3369088"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524A49-3D0B-45C8-9CD4-073A92870A4E}">
      <dsp:nvSpPr>
        <dsp:cNvPr id="0" name=""/>
        <dsp:cNvSpPr/>
      </dsp:nvSpPr>
      <dsp:spPr>
        <a:xfrm>
          <a:off x="4154185"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5. Procure to Pay (P2P)</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SC Requisitioning to Goods Receipt</a:t>
          </a:r>
        </a:p>
      </dsp:txBody>
      <dsp:txXfrm>
        <a:off x="4187470" y="1856227"/>
        <a:ext cx="2419570" cy="1069858"/>
      </dsp:txXfrm>
    </dsp:sp>
    <dsp:sp modelId="{AF63AEFA-12CC-45D1-ADF5-32CBFE6C42F7}">
      <dsp:nvSpPr>
        <dsp:cNvPr id="0" name=""/>
        <dsp:cNvSpPr/>
      </dsp:nvSpPr>
      <dsp:spPr>
        <a:xfrm>
          <a:off x="6731920"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5B747-A83F-4A57-ACE1-7B25D1045CDC}">
      <dsp:nvSpPr>
        <dsp:cNvPr id="0" name=""/>
        <dsp:cNvSpPr/>
      </dsp:nvSpPr>
      <dsp:spPr>
        <a:xfrm>
          <a:off x="7517017"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6. Device Reprocessing</a:t>
          </a:r>
        </a:p>
        <a:p>
          <a:pPr marL="114300" lvl="1" indent="-114300" algn="l" defTabSz="533400">
            <a:lnSpc>
              <a:spcPct val="90000"/>
            </a:lnSpc>
            <a:spcBef>
              <a:spcPct val="0"/>
            </a:spcBef>
            <a:spcAft>
              <a:spcPct val="15000"/>
            </a:spcAft>
            <a:buChar char="•"/>
          </a:pPr>
          <a:r>
            <a:rPr lang="en-US" sz="1200" kern="1200" dirty="0">
              <a:solidFill>
                <a:schemeClr val="tx1"/>
              </a:solidFill>
              <a:latin typeface="+mn-lt"/>
              <a:cs typeface="Arial" pitchFamily="34" charset="0"/>
            </a:rPr>
            <a:t>Dirty Device Collection to Released FG Inventory</a:t>
          </a:r>
        </a:p>
      </dsp:txBody>
      <dsp:txXfrm>
        <a:off x="7550302" y="1856227"/>
        <a:ext cx="2419570" cy="1069858"/>
      </dsp:txXfrm>
    </dsp:sp>
    <dsp:sp modelId="{A8ABC7AF-BAE3-475E-8437-3C62F4DF1FA4}">
      <dsp:nvSpPr>
        <dsp:cNvPr id="0" name=""/>
        <dsp:cNvSpPr/>
      </dsp:nvSpPr>
      <dsp:spPr>
        <a:xfrm>
          <a:off x="10094753" y="1538835"/>
          <a:ext cx="2944114" cy="1136428"/>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FF1BBC-A574-4277-AA93-8A13A4159BA0}">
      <dsp:nvSpPr>
        <dsp:cNvPr id="0" name=""/>
        <dsp:cNvSpPr/>
      </dsp:nvSpPr>
      <dsp:spPr>
        <a:xfrm>
          <a:off x="10879850" y="1822942"/>
          <a:ext cx="2486140" cy="11364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mn-lt"/>
              <a:cs typeface="Arial" pitchFamily="34" charset="0"/>
            </a:rPr>
            <a:t>7. Procure to Pay (P2P)</a:t>
          </a:r>
        </a:p>
        <a:p>
          <a:pPr marL="114300" lvl="1" indent="-114300" algn="l" defTabSz="622300">
            <a:lnSpc>
              <a:spcPct val="90000"/>
            </a:lnSpc>
            <a:spcBef>
              <a:spcPct val="0"/>
            </a:spcBef>
            <a:spcAft>
              <a:spcPct val="15000"/>
            </a:spcAft>
            <a:buChar char="•"/>
          </a:pPr>
          <a:r>
            <a:rPr lang="en-US" sz="1400" kern="1200" dirty="0">
              <a:solidFill>
                <a:schemeClr val="tx1"/>
              </a:solidFill>
              <a:latin typeface="+mn-lt"/>
              <a:cs typeface="Arial" pitchFamily="34" charset="0"/>
            </a:rPr>
            <a:t>AP Goods Receipt to Payment</a:t>
          </a:r>
        </a:p>
      </dsp:txBody>
      <dsp:txXfrm>
        <a:off x="10913135" y="1856227"/>
        <a:ext cx="2419570" cy="106985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6" name="Rectangle 6"/>
          <p:cNvSpPr>
            <a:spLocks noGrp="1" noChangeArrowheads="1"/>
          </p:cNvSpPr>
          <p:nvPr>
            <p:ph type="hdr" sz="quarter"/>
          </p:nvPr>
        </p:nvSpPr>
        <p:spPr bwMode="auto">
          <a:xfrm>
            <a:off x="0" y="0"/>
            <a:ext cx="2945659" cy="493713"/>
          </a:xfrm>
          <a:prstGeom prst="rect">
            <a:avLst/>
          </a:prstGeom>
          <a:noFill/>
          <a:ln w="9525">
            <a:noFill/>
            <a:miter lim="800000"/>
            <a:headEnd/>
            <a:tailEnd/>
          </a:ln>
          <a:effectLst/>
        </p:spPr>
        <p:txBody>
          <a:bodyPr vert="horz" wrap="square" lIns="94229" tIns="47115" rIns="94229" bIns="47115" numCol="1" anchor="t" anchorCtr="0" compatLnSpc="1">
            <a:prstTxWarp prst="textNoShape">
              <a:avLst/>
            </a:prstTxWarp>
          </a:bodyPr>
          <a:lstStyle>
            <a:lvl1pPr eaLnBrk="0" hangingPunct="0">
              <a:spcBef>
                <a:spcPct val="0"/>
              </a:spcBef>
              <a:defRPr sz="1200"/>
            </a:lvl1pPr>
          </a:lstStyle>
          <a:p>
            <a:endParaRPr lang="en-US" dirty="0"/>
          </a:p>
        </p:txBody>
      </p:sp>
      <p:sp>
        <p:nvSpPr>
          <p:cNvPr id="15368" name="Rectangle 8"/>
          <p:cNvSpPr>
            <a:spLocks noGrp="1" noChangeArrowheads="1"/>
          </p:cNvSpPr>
          <p:nvPr>
            <p:ph type="ftr" sz="quarter" idx="2"/>
          </p:nvPr>
        </p:nvSpPr>
        <p:spPr bwMode="auto">
          <a:xfrm>
            <a:off x="1" y="9378824"/>
            <a:ext cx="5519963" cy="493713"/>
          </a:xfrm>
          <a:prstGeom prst="rect">
            <a:avLst/>
          </a:prstGeom>
          <a:noFill/>
          <a:ln w="9525">
            <a:noFill/>
            <a:miter lim="800000"/>
            <a:headEnd/>
            <a:tailEnd/>
          </a:ln>
          <a:effectLst/>
        </p:spPr>
        <p:txBody>
          <a:bodyPr vert="horz" wrap="square" lIns="94229" tIns="47115" rIns="94229" bIns="47115" numCol="1" anchor="b" anchorCtr="0" compatLnSpc="1">
            <a:prstTxWarp prst="textNoShape">
              <a:avLst/>
            </a:prstTxWarp>
          </a:bodyPr>
          <a:lstStyle>
            <a:lvl1pPr eaLnBrk="0" hangingPunct="0">
              <a:spcBef>
                <a:spcPct val="0"/>
              </a:spcBef>
              <a:defRPr sz="1200"/>
            </a:lvl1pPr>
          </a:lstStyle>
          <a:p>
            <a:endParaRPr lang="en-US" dirty="0"/>
          </a:p>
        </p:txBody>
      </p:sp>
      <p:sp>
        <p:nvSpPr>
          <p:cNvPr id="15369" name="Rectangle 9"/>
          <p:cNvSpPr>
            <a:spLocks noGrp="1" noChangeArrowheads="1"/>
          </p:cNvSpPr>
          <p:nvPr>
            <p:ph type="sldNum" sz="quarter" idx="3"/>
          </p:nvPr>
        </p:nvSpPr>
        <p:spPr bwMode="auto">
          <a:xfrm>
            <a:off x="5685186" y="9378824"/>
            <a:ext cx="1110917" cy="493713"/>
          </a:xfrm>
          <a:prstGeom prst="rect">
            <a:avLst/>
          </a:prstGeom>
          <a:noFill/>
          <a:ln w="9525">
            <a:noFill/>
            <a:miter lim="800000"/>
            <a:headEnd/>
            <a:tailEnd/>
          </a:ln>
          <a:effectLst/>
        </p:spPr>
        <p:txBody>
          <a:bodyPr vert="horz" wrap="square" lIns="94229" tIns="47115" rIns="94229" bIns="47115" numCol="1" anchor="b" anchorCtr="0" compatLnSpc="1">
            <a:prstTxWarp prst="textNoShape">
              <a:avLst/>
            </a:prstTxWarp>
          </a:bodyPr>
          <a:lstStyle>
            <a:lvl1pPr algn="r" eaLnBrk="0" hangingPunct="0">
              <a:spcBef>
                <a:spcPct val="0"/>
              </a:spcBef>
              <a:defRPr sz="1200"/>
            </a:lvl1pPr>
          </a:lstStyle>
          <a:p>
            <a:fld id="{6A48D351-BF5F-7D49-8150-A7E8E8CC44E2}" type="slidenum">
              <a:rPr lang="en-US"/>
              <a:pPr/>
              <a:t>‹#›</a:t>
            </a:fld>
            <a:endParaRPr lang="en-US" dirty="0"/>
          </a:p>
        </p:txBody>
      </p:sp>
    </p:spTree>
    <p:extLst>
      <p:ext uri="{BB962C8B-B14F-4D97-AF65-F5344CB8AC3E}">
        <p14:creationId xmlns:p14="http://schemas.microsoft.com/office/powerpoint/2010/main" val="48383643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950" y="741363"/>
            <a:ext cx="6581775" cy="3703637"/>
          </a:xfrm>
          <a:prstGeom prst="rect">
            <a:avLst/>
          </a:prstGeom>
          <a:noFill/>
          <a:ln w="12700">
            <a:solidFill>
              <a:prstClr val="black"/>
            </a:solidFill>
          </a:ln>
        </p:spPr>
        <p:txBody>
          <a:bodyPr vert="horz" wrap="square" lIns="94229" tIns="47115" rIns="94229" bIns="47115" numCol="1" anchor="ctr" anchorCtr="0" compatLnSpc="1">
            <a:prstTxWarp prst="textNoShape">
              <a:avLst/>
            </a:prstTxWarp>
          </a:bodyPr>
          <a:lstStyle/>
          <a:p>
            <a:pPr lvl="0"/>
            <a:endParaRPr lang="en-US" dirty="0"/>
          </a:p>
        </p:txBody>
      </p:sp>
      <p:sp>
        <p:nvSpPr>
          <p:cNvPr id="5" name="Notes Placeholder 4"/>
          <p:cNvSpPr>
            <a:spLocks noGrp="1"/>
          </p:cNvSpPr>
          <p:nvPr>
            <p:ph type="body" sz="quarter" idx="3"/>
          </p:nvPr>
        </p:nvSpPr>
        <p:spPr>
          <a:xfrm>
            <a:off x="365061" y="4690270"/>
            <a:ext cx="6067555" cy="4443413"/>
          </a:xfrm>
          <a:prstGeom prst="rect">
            <a:avLst/>
          </a:prstGeom>
        </p:spPr>
        <p:txBody>
          <a:bodyPr vert="horz" wrap="square" lIns="94229" tIns="47115" rIns="94229" bIns="47115"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392" name="Rectangle 8"/>
          <p:cNvSpPr>
            <a:spLocks noGrp="1" noChangeArrowheads="1"/>
          </p:cNvSpPr>
          <p:nvPr>
            <p:ph type="hdr" sz="quarter"/>
          </p:nvPr>
        </p:nvSpPr>
        <p:spPr bwMode="auto">
          <a:xfrm>
            <a:off x="0" y="0"/>
            <a:ext cx="2945659" cy="493713"/>
          </a:xfrm>
          <a:prstGeom prst="rect">
            <a:avLst/>
          </a:prstGeom>
          <a:noFill/>
          <a:ln w="9525">
            <a:noFill/>
            <a:miter lim="800000"/>
            <a:headEnd/>
            <a:tailEnd/>
          </a:ln>
          <a:effectLst/>
        </p:spPr>
        <p:txBody>
          <a:bodyPr vert="horz" wrap="square" lIns="94229" tIns="47115" rIns="94229" bIns="47115" numCol="1" anchor="t" anchorCtr="0" compatLnSpc="1">
            <a:prstTxWarp prst="textNoShape">
              <a:avLst/>
            </a:prstTxWarp>
          </a:bodyPr>
          <a:lstStyle>
            <a:lvl1pPr eaLnBrk="0" hangingPunct="0">
              <a:spcBef>
                <a:spcPct val="0"/>
              </a:spcBef>
              <a:defRPr sz="1200"/>
            </a:lvl1pPr>
          </a:lstStyle>
          <a:p>
            <a:endParaRPr lang="en-US" dirty="0"/>
          </a:p>
        </p:txBody>
      </p:sp>
      <p:sp>
        <p:nvSpPr>
          <p:cNvPr id="16393" name="Rectangle 9"/>
          <p:cNvSpPr>
            <a:spLocks noGrp="1" noChangeArrowheads="1"/>
          </p:cNvSpPr>
          <p:nvPr>
            <p:ph type="dt" idx="1"/>
          </p:nvPr>
        </p:nvSpPr>
        <p:spPr bwMode="auto">
          <a:xfrm>
            <a:off x="3850444" y="0"/>
            <a:ext cx="2945659" cy="493713"/>
          </a:xfrm>
          <a:prstGeom prst="rect">
            <a:avLst/>
          </a:prstGeom>
          <a:noFill/>
          <a:ln w="9525">
            <a:noFill/>
            <a:miter lim="800000"/>
            <a:headEnd/>
            <a:tailEnd/>
          </a:ln>
          <a:effectLst/>
        </p:spPr>
        <p:txBody>
          <a:bodyPr vert="horz" wrap="square" lIns="94229" tIns="47115" rIns="94229" bIns="47115" numCol="1" anchor="t" anchorCtr="0" compatLnSpc="1">
            <a:prstTxWarp prst="textNoShape">
              <a:avLst/>
            </a:prstTxWarp>
          </a:bodyPr>
          <a:lstStyle>
            <a:lvl1pPr algn="r" eaLnBrk="0" hangingPunct="0">
              <a:spcBef>
                <a:spcPct val="0"/>
              </a:spcBef>
              <a:defRPr sz="1200"/>
            </a:lvl1pPr>
          </a:lstStyle>
          <a:p>
            <a:fld id="{45474477-4411-D749-8989-B52B56FE13F5}" type="datetime8">
              <a:rPr lang="en-US" smtClean="0"/>
              <a:t>3/6/2024 1:32 PM</a:t>
            </a:fld>
            <a:endParaRPr lang="en-US" dirty="0"/>
          </a:p>
        </p:txBody>
      </p:sp>
      <p:sp>
        <p:nvSpPr>
          <p:cNvPr id="16394" name="Rectangle 10"/>
          <p:cNvSpPr>
            <a:spLocks noGrp="1" noChangeArrowheads="1"/>
          </p:cNvSpPr>
          <p:nvPr>
            <p:ph type="ftr" sz="quarter" idx="4"/>
          </p:nvPr>
        </p:nvSpPr>
        <p:spPr bwMode="auto">
          <a:xfrm>
            <a:off x="1" y="9378824"/>
            <a:ext cx="5519963" cy="493713"/>
          </a:xfrm>
          <a:prstGeom prst="rect">
            <a:avLst/>
          </a:prstGeom>
          <a:noFill/>
          <a:ln w="9525">
            <a:noFill/>
            <a:miter lim="800000"/>
            <a:headEnd/>
            <a:tailEnd/>
          </a:ln>
          <a:effectLst/>
        </p:spPr>
        <p:txBody>
          <a:bodyPr vert="horz" wrap="square" lIns="94229" tIns="47115" rIns="94229" bIns="47115" numCol="1" anchor="b" anchorCtr="0" compatLnSpc="1">
            <a:prstTxWarp prst="textNoShape">
              <a:avLst/>
            </a:prstTxWarp>
          </a:bodyPr>
          <a:lstStyle>
            <a:lvl1pPr eaLnBrk="0" hangingPunct="0">
              <a:spcBef>
                <a:spcPct val="0"/>
              </a:spcBef>
              <a:defRPr sz="1200"/>
            </a:lvl1pPr>
          </a:lstStyle>
          <a:p>
            <a:endParaRPr lang="en-US" dirty="0"/>
          </a:p>
        </p:txBody>
      </p:sp>
      <p:sp>
        <p:nvSpPr>
          <p:cNvPr id="16395" name="Rectangle 11"/>
          <p:cNvSpPr>
            <a:spLocks noGrp="1" noChangeArrowheads="1"/>
          </p:cNvSpPr>
          <p:nvPr>
            <p:ph type="sldNum" sz="quarter" idx="5"/>
          </p:nvPr>
        </p:nvSpPr>
        <p:spPr bwMode="auto">
          <a:xfrm>
            <a:off x="5699347" y="9378824"/>
            <a:ext cx="1096756" cy="493713"/>
          </a:xfrm>
          <a:prstGeom prst="rect">
            <a:avLst/>
          </a:prstGeom>
          <a:noFill/>
          <a:ln w="9525">
            <a:noFill/>
            <a:miter lim="800000"/>
            <a:headEnd/>
            <a:tailEnd/>
          </a:ln>
          <a:effectLst/>
        </p:spPr>
        <p:txBody>
          <a:bodyPr vert="horz" wrap="square" lIns="94229" tIns="47115" rIns="94229" bIns="47115" numCol="1" anchor="b" anchorCtr="0" compatLnSpc="1">
            <a:prstTxWarp prst="textNoShape">
              <a:avLst/>
            </a:prstTxWarp>
          </a:bodyPr>
          <a:lstStyle>
            <a:lvl1pPr algn="r" eaLnBrk="0" hangingPunct="0">
              <a:spcBef>
                <a:spcPct val="0"/>
              </a:spcBef>
              <a:defRPr sz="1200"/>
            </a:lvl1pPr>
          </a:lstStyle>
          <a:p>
            <a:fld id="{B976D8D5-0ECD-3A4D-8E63-E16D685F0695}" type="slidenum">
              <a:rPr lang="en-US"/>
              <a:pPr/>
              <a:t>‹#›</a:t>
            </a:fld>
            <a:endParaRPr lang="en-US" dirty="0"/>
          </a:p>
        </p:txBody>
      </p:sp>
    </p:spTree>
    <p:extLst>
      <p:ext uri="{BB962C8B-B14F-4D97-AF65-F5344CB8AC3E}">
        <p14:creationId xmlns:p14="http://schemas.microsoft.com/office/powerpoint/2010/main" val="2323939531"/>
      </p:ext>
    </p:extLst>
  </p:cSld>
  <p:clrMap bg1="lt1" tx1="dk1" bg2="lt2" tx2="dk2" accent1="accent1" accent2="accent2" accent3="accent3" accent4="accent4" accent5="accent5" accent6="accent6" hlink="hlink" folHlink="folHlink"/>
  <p:hf/>
  <p:notesStyle>
    <a:lvl1pPr marL="114294" indent="-114294" algn="l" defTabSz="457177" rtl="0" eaLnBrk="0" fontAlgn="base" hangingPunct="0">
      <a:lnSpc>
        <a:spcPct val="90000"/>
      </a:lnSpc>
      <a:spcBef>
        <a:spcPts val="1000"/>
      </a:spcBef>
      <a:spcAft>
        <a:spcPct val="0"/>
      </a:spcAft>
      <a:buFont typeface="Arial" pitchFamily="34" charset="0"/>
      <a:buChar char="•"/>
      <a:defRPr sz="1100" kern="1200">
        <a:solidFill>
          <a:schemeClr val="tx1"/>
        </a:solidFill>
        <a:latin typeface="Arial" pitchFamily="-65" charset="0"/>
        <a:ea typeface="Arial Unicode MS" pitchFamily="-65" charset="0"/>
        <a:cs typeface="Arial Unicode MS" pitchFamily="-65" charset="0"/>
      </a:defRPr>
    </a:lvl1pPr>
    <a:lvl2pPr marL="571471" indent="-114294" algn="l" defTabSz="457177" rtl="0" eaLnBrk="0" fontAlgn="base" hangingPunct="0">
      <a:lnSpc>
        <a:spcPct val="90000"/>
      </a:lnSpc>
      <a:spcBef>
        <a:spcPts val="200"/>
      </a:spcBef>
      <a:spcAft>
        <a:spcPct val="0"/>
      </a:spcAft>
      <a:buFont typeface="Arial" pitchFamily="34" charset="0"/>
      <a:buChar char="•"/>
      <a:defRPr sz="1100" kern="1200">
        <a:solidFill>
          <a:schemeClr val="tx1"/>
        </a:solidFill>
        <a:latin typeface="Arial" pitchFamily="-65" charset="0"/>
        <a:ea typeface="Arial Unicode MS" pitchFamily="-65" charset="0"/>
        <a:cs typeface="Arial Unicode MS" pitchFamily="-65" charset="0"/>
      </a:defRPr>
    </a:lvl2pPr>
    <a:lvl3pPr marL="1028649" indent="-114294" algn="l" defTabSz="457177" rtl="0" eaLnBrk="0" fontAlgn="base" hangingPunct="0">
      <a:lnSpc>
        <a:spcPct val="90000"/>
      </a:lnSpc>
      <a:spcBef>
        <a:spcPts val="200"/>
      </a:spcBef>
      <a:spcAft>
        <a:spcPct val="0"/>
      </a:spcAft>
      <a:buFont typeface="Arial" pitchFamily="34" charset="0"/>
      <a:buChar char="•"/>
      <a:defRPr sz="1100" kern="1200">
        <a:solidFill>
          <a:schemeClr val="tx1"/>
        </a:solidFill>
        <a:latin typeface="Arial" pitchFamily="-65" charset="0"/>
        <a:ea typeface="Arial Unicode MS" pitchFamily="-65" charset="0"/>
        <a:cs typeface="Arial Unicode MS" pitchFamily="-65" charset="0"/>
      </a:defRPr>
    </a:lvl3pPr>
    <a:lvl4pPr marL="1485826" indent="-114294" algn="l" defTabSz="457177" rtl="0" eaLnBrk="0" fontAlgn="base" hangingPunct="0">
      <a:lnSpc>
        <a:spcPct val="90000"/>
      </a:lnSpc>
      <a:spcBef>
        <a:spcPts val="200"/>
      </a:spcBef>
      <a:spcAft>
        <a:spcPct val="0"/>
      </a:spcAft>
      <a:buFont typeface="Arial" pitchFamily="34" charset="0"/>
      <a:buChar char="•"/>
      <a:defRPr sz="1100" kern="1200">
        <a:solidFill>
          <a:schemeClr val="tx1"/>
        </a:solidFill>
        <a:latin typeface="Arial" pitchFamily="-65" charset="0"/>
        <a:ea typeface="Arial Unicode MS" pitchFamily="-65" charset="0"/>
        <a:cs typeface="Arial Unicode MS" pitchFamily="-65" charset="0"/>
      </a:defRPr>
    </a:lvl4pPr>
    <a:lvl5pPr marL="1943003" indent="-114294" algn="l" defTabSz="457177" rtl="0" eaLnBrk="0" fontAlgn="base" hangingPunct="0">
      <a:lnSpc>
        <a:spcPct val="90000"/>
      </a:lnSpc>
      <a:spcBef>
        <a:spcPts val="200"/>
      </a:spcBef>
      <a:spcAft>
        <a:spcPct val="0"/>
      </a:spcAft>
      <a:buFont typeface="Arial" pitchFamily="34" charset="0"/>
      <a:buChar char="•"/>
      <a:defRPr sz="11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1100" kern="1200">
        <a:solidFill>
          <a:schemeClr val="tx1"/>
        </a:solidFill>
        <a:latin typeface="+mn-lt"/>
        <a:ea typeface="+mn-ea"/>
        <a:cs typeface="+mn-cs"/>
      </a:defRPr>
    </a:lvl6pPr>
    <a:lvl7pPr marL="2743063" algn="l" defTabSz="457177" rtl="0" eaLnBrk="1" latinLnBrk="0" hangingPunct="1">
      <a:defRPr sz="1100" kern="1200">
        <a:solidFill>
          <a:schemeClr val="tx1"/>
        </a:solidFill>
        <a:latin typeface="+mn-lt"/>
        <a:ea typeface="+mn-ea"/>
        <a:cs typeface="+mn-cs"/>
      </a:defRPr>
    </a:lvl7pPr>
    <a:lvl8pPr marL="3200240" algn="l" defTabSz="457177" rtl="0" eaLnBrk="1" latinLnBrk="0" hangingPunct="1">
      <a:defRPr sz="1100" kern="1200">
        <a:solidFill>
          <a:schemeClr val="tx1"/>
        </a:solidFill>
        <a:latin typeface="+mn-lt"/>
        <a:ea typeface="+mn-ea"/>
        <a:cs typeface="+mn-cs"/>
      </a:defRPr>
    </a:lvl8pPr>
    <a:lvl9pPr marL="3657417" algn="l" defTabSz="457177"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fld id="{45474477-4411-D749-8989-B52B56FE13F5}" type="datetime8">
              <a:rPr lang="en-US" smtClean="0"/>
              <a:t>3/6/2024 1:32 PM</a:t>
            </a:fld>
            <a:endParaRPr lang="en-US" dirty="0"/>
          </a:p>
        </p:txBody>
      </p:sp>
      <p:sp>
        <p:nvSpPr>
          <p:cNvPr id="6" name="Footer Placeholder 5"/>
          <p:cNvSpPr>
            <a:spLocks noGrp="1"/>
          </p:cNvSpPr>
          <p:nvPr>
            <p:ph type="ftr" sz="quarter" idx="4"/>
          </p:nvPr>
        </p:nvSpPr>
        <p:spPr/>
        <p:txBody>
          <a:bodyPr/>
          <a:lstStyle/>
          <a:p>
            <a:endParaRPr lang="en-US" dirty="0"/>
          </a:p>
        </p:txBody>
      </p:sp>
      <p:sp>
        <p:nvSpPr>
          <p:cNvPr id="7" name="Slide Number Placeholder 6"/>
          <p:cNvSpPr>
            <a:spLocks noGrp="1"/>
          </p:cNvSpPr>
          <p:nvPr>
            <p:ph type="sldNum" sz="quarter" idx="5"/>
          </p:nvPr>
        </p:nvSpPr>
        <p:spPr/>
        <p:txBody>
          <a:bodyPr/>
          <a:lstStyle/>
          <a:p>
            <a:fld id="{B976D8D5-0ECD-3A4D-8E63-E16D685F0695}" type="slidenum">
              <a:rPr lang="en-US" smtClean="0"/>
              <a:pPr/>
              <a:t>1</a:t>
            </a:fld>
            <a:endParaRPr lang="en-US" dirty="0"/>
          </a:p>
        </p:txBody>
      </p:sp>
    </p:spTree>
    <p:extLst>
      <p:ext uri="{BB962C8B-B14F-4D97-AF65-F5344CB8AC3E}">
        <p14:creationId xmlns:p14="http://schemas.microsoft.com/office/powerpoint/2010/main" val="1244563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C57B0-6087-8C49-FFF3-5D48C21A33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897851-B693-89EB-DAA1-9DF2CBF2B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DB7ED-AE44-9DD8-0FC0-9E5278A267D7}"/>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6F3707B8-2E96-FB0A-219F-3486E3BEA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67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2CF0F-F477-5C16-227F-D8E83C2734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534487-4DC4-744F-0306-45DA314B7D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7682E6-8B06-DEA4-EF55-7D637B6FDF0B}"/>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3863C8BE-3515-250F-9CD1-C7E75E0542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327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DD905-F89A-8B01-94A2-219649933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3DCB6F-628F-FACD-8FF8-8E72AB933E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A744FC-2409-4950-9CDA-08BD6E2ABE46}"/>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1D86E040-E129-4C05-6F74-D98482F586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948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7D764-757B-70B7-99D8-2E2B07FBB0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98A71C-1A8E-8B96-03ED-C42412226B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3E50BF-6C1B-D257-6AE8-F3EE5CD2884B}"/>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0FCB2FC7-2A28-2875-D630-4CFD5BF9FA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6098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D5582-32DA-81C4-293E-60AC68F21E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8A1D1E-5D9D-B7D7-D732-9945BC412C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0FA249-F70B-D5CD-E416-27361F967FF8}"/>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3705F53A-7984-9A62-C70B-3E522B1633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237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825D6-E261-5DB6-C7ED-3DF402E09C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C958D5-98C7-1588-3555-1A222B6F40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3EAC73-9CBF-1057-A280-3AD045D203A6}"/>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1FC67F10-2631-AEA1-ACF9-B8CFDDB463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541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65DCE-FF82-374C-8B7E-ACC17374AF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BDA78B-529F-878B-4EF0-FB832F02F1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D2F1FE-B5B8-7667-7379-0ED5A552ABF9}"/>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78760908-FFB0-F8EA-A576-17A55C00D1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338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109538" y="739775"/>
            <a:ext cx="6567487" cy="3695700"/>
          </a:xfrm>
          <a:ln/>
        </p:spPr>
      </p:sp>
      <p:sp>
        <p:nvSpPr>
          <p:cNvPr id="23555" name="Notes Placeholder 2"/>
          <p:cNvSpPr>
            <a:spLocks noGrp="1"/>
          </p:cNvSpPr>
          <p:nvPr>
            <p:ph type="body" idx="1"/>
          </p:nvPr>
        </p:nvSpPr>
        <p:spPr>
          <a:noFill/>
          <a:ln/>
        </p:spPr>
        <p:txBody>
          <a:bodyPr/>
          <a:lstStyle/>
          <a:p>
            <a:endParaRPr lang="en-US" dirty="0"/>
          </a:p>
        </p:txBody>
      </p:sp>
      <p:sp>
        <p:nvSpPr>
          <p:cNvPr id="23556" name="Slide Number Placeholder 3"/>
          <p:cNvSpPr>
            <a:spLocks noGrp="1"/>
          </p:cNvSpPr>
          <p:nvPr>
            <p:ph type="sldNum" sz="quarter" idx="5"/>
          </p:nvPr>
        </p:nvSpPr>
        <p:spPr>
          <a:noFill/>
        </p:spPr>
        <p:txBody>
          <a:bodyPr/>
          <a:lstStyle/>
          <a:p>
            <a:pPr defTabSz="897431" eaLnBrk="1" fontAlgn="auto" hangingPunct="1">
              <a:spcBef>
                <a:spcPts val="0"/>
              </a:spcBef>
              <a:spcAft>
                <a:spcPts val="0"/>
              </a:spcAft>
              <a:defRPr/>
            </a:pPr>
            <a:fld id="{CEEBBFCF-45B6-4569-BC0F-7F952E982FC4}" type="slidenum">
              <a:rPr lang="en-US" sz="1800" kern="0">
                <a:solidFill>
                  <a:prstClr val="black"/>
                </a:solidFill>
              </a:rPr>
              <a:pPr defTabSz="897431" eaLnBrk="1" fontAlgn="auto" hangingPunct="1">
                <a:spcBef>
                  <a:spcPts val="0"/>
                </a:spcBef>
                <a:spcAft>
                  <a:spcPts val="0"/>
                </a:spcAft>
                <a:defRPr/>
              </a:pPr>
              <a:t>2</a:t>
            </a:fld>
            <a:endParaRPr lang="en-US" sz="1800" kern="0" dirty="0">
              <a:solidFill>
                <a:prstClr val="black"/>
              </a:solidFill>
            </a:endParaRPr>
          </a:p>
        </p:txBody>
      </p:sp>
    </p:spTree>
    <p:extLst>
      <p:ext uri="{BB962C8B-B14F-4D97-AF65-F5344CB8AC3E}">
        <p14:creationId xmlns:p14="http://schemas.microsoft.com/office/powerpoint/2010/main" val="105402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406400" y="696913"/>
            <a:ext cx="6197600" cy="3486150"/>
          </a:xfrm>
          <a:ln/>
        </p:spPr>
      </p:sp>
      <p:sp>
        <p:nvSpPr>
          <p:cNvPr id="23555" name="Notes Placeholder 2"/>
          <p:cNvSpPr>
            <a:spLocks noGrp="1"/>
          </p:cNvSpPr>
          <p:nvPr>
            <p:ph type="body" idx="1"/>
          </p:nvPr>
        </p:nvSpPr>
        <p:spPr>
          <a:noFill/>
          <a:ln/>
        </p:spPr>
        <p:txBody>
          <a:bodyPr/>
          <a:lstStyle/>
          <a:p>
            <a:pPr marL="795655"/>
            <a:endParaRPr lang="en-US" dirty="0"/>
          </a:p>
        </p:txBody>
      </p:sp>
      <p:sp>
        <p:nvSpPr>
          <p:cNvPr id="23556" name="Slide Number Placeholder 3"/>
          <p:cNvSpPr>
            <a:spLocks noGrp="1"/>
          </p:cNvSpPr>
          <p:nvPr>
            <p:ph type="sldNum" sz="quarter" idx="5"/>
          </p:nvPr>
        </p:nvSpPr>
        <p:spPr>
          <a:noFill/>
        </p:spPr>
        <p:txBody>
          <a:bodyPr/>
          <a:lstStyle/>
          <a:p>
            <a:pPr marL="0" marR="0" lvl="0" indent="0" algn="r" defTabSz="888810" rtl="0" eaLnBrk="1" fontAlgn="auto" latinLnBrk="0" hangingPunct="1">
              <a:lnSpc>
                <a:spcPct val="100000"/>
              </a:lnSpc>
              <a:spcBef>
                <a:spcPts val="0"/>
              </a:spcBef>
              <a:spcAft>
                <a:spcPts val="0"/>
              </a:spcAft>
              <a:buClrTx/>
              <a:buSzTx/>
              <a:buFontTx/>
              <a:buNone/>
              <a:tabLst/>
              <a:defRPr/>
            </a:pPr>
            <a:fld id="{CEEBBFCF-45B6-4569-BC0F-7F952E982FC4}"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88881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454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406400" y="696913"/>
            <a:ext cx="6197600" cy="3486150"/>
          </a:xfrm>
          <a:ln/>
        </p:spPr>
      </p:sp>
      <p:sp>
        <p:nvSpPr>
          <p:cNvPr id="23555" name="Notes Placeholder 2"/>
          <p:cNvSpPr>
            <a:spLocks noGrp="1"/>
          </p:cNvSpPr>
          <p:nvPr>
            <p:ph type="body" idx="1"/>
          </p:nvPr>
        </p:nvSpPr>
        <p:spPr>
          <a:noFill/>
          <a:ln/>
        </p:spPr>
        <p:txBody>
          <a:bodyPr/>
          <a:lstStyle/>
          <a:p>
            <a:pPr marL="795655"/>
            <a:r>
              <a:rPr lang="en-US" dirty="0"/>
              <a:t>Data </a:t>
            </a:r>
          </a:p>
          <a:p>
            <a:pPr marL="795655"/>
            <a:r>
              <a:rPr lang="en-US" dirty="0"/>
              <a:t>Systems </a:t>
            </a:r>
          </a:p>
          <a:p>
            <a:pPr marL="795655"/>
            <a:r>
              <a:rPr lang="en-US" dirty="0"/>
              <a:t>Cycle Times / TT / LT</a:t>
            </a:r>
          </a:p>
          <a:p>
            <a:pPr marL="795655"/>
            <a:r>
              <a:rPr lang="en-US" b="1" dirty="0">
                <a:solidFill>
                  <a:srgbClr val="FF0000"/>
                </a:solidFill>
              </a:rPr>
              <a:t>Output </a:t>
            </a:r>
          </a:p>
          <a:p>
            <a:pPr marL="795655"/>
            <a:r>
              <a:rPr lang="en-US" b="1" dirty="0">
                <a:solidFill>
                  <a:srgbClr val="FF0000"/>
                </a:solidFill>
              </a:rPr>
              <a:t>Customers</a:t>
            </a:r>
          </a:p>
          <a:p>
            <a:pPr marL="795655"/>
            <a:r>
              <a:rPr lang="en-US" b="1" dirty="0">
                <a:solidFill>
                  <a:srgbClr val="FF0000"/>
                </a:solidFill>
              </a:rPr>
              <a:t>KPIs that drive business case</a:t>
            </a:r>
          </a:p>
        </p:txBody>
      </p:sp>
      <p:sp>
        <p:nvSpPr>
          <p:cNvPr id="23556" name="Slide Number Placeholder 3"/>
          <p:cNvSpPr>
            <a:spLocks noGrp="1"/>
          </p:cNvSpPr>
          <p:nvPr>
            <p:ph type="sldNum" sz="quarter" idx="5"/>
          </p:nvPr>
        </p:nvSpPr>
        <p:spPr>
          <a:noFill/>
        </p:spPr>
        <p:txBody>
          <a:bodyPr/>
          <a:lstStyle/>
          <a:p>
            <a:pPr marL="0" marR="0" lvl="0" indent="0" algn="r" defTabSz="888810" rtl="0" eaLnBrk="1" fontAlgn="auto" latinLnBrk="0" hangingPunct="1">
              <a:lnSpc>
                <a:spcPct val="100000"/>
              </a:lnSpc>
              <a:spcBef>
                <a:spcPts val="0"/>
              </a:spcBef>
              <a:spcAft>
                <a:spcPts val="0"/>
              </a:spcAft>
              <a:buClrTx/>
              <a:buSzTx/>
              <a:buFontTx/>
              <a:buNone/>
              <a:tabLst/>
              <a:defRPr/>
            </a:pPr>
            <a:fld id="{CEEBBFCF-45B6-4569-BC0F-7F952E982FC4}"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88881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248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406400" y="696913"/>
            <a:ext cx="6197600" cy="3486150"/>
          </a:xfrm>
          <a:ln/>
        </p:spPr>
      </p:sp>
      <p:sp>
        <p:nvSpPr>
          <p:cNvPr id="23555" name="Notes Placeholder 2"/>
          <p:cNvSpPr>
            <a:spLocks noGrp="1"/>
          </p:cNvSpPr>
          <p:nvPr>
            <p:ph type="body" idx="1"/>
          </p:nvPr>
        </p:nvSpPr>
        <p:spPr>
          <a:noFill/>
          <a:ln/>
        </p:spPr>
        <p:txBody>
          <a:bodyPr>
            <a:normAutofit fontScale="25000" lnSpcReduction="20000"/>
          </a:bodyPr>
          <a:lstStyle/>
          <a:p>
            <a:pPr marL="795655"/>
            <a:r>
              <a:rPr lang="en-US" b="1" dirty="0"/>
              <a:t>Service Type: </a:t>
            </a:r>
            <a:r>
              <a:rPr lang="en-US" b="0" dirty="0"/>
              <a:t>Standard CPI, Process Mining, IA/RPA, Process Simulation, Credo, Unfunded, Coaching, Task Mining, Skills Based Volunteering</a:t>
            </a:r>
            <a:endParaRPr lang="en-US" sz="800" b="0" dirty="0"/>
          </a:p>
          <a:p>
            <a:pPr marL="795655"/>
            <a:r>
              <a:rPr kumimoji="0" lang="en-US" sz="8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Region: </a:t>
            </a:r>
            <a:r>
              <a:rPr lang="en-US" sz="800" b="0" dirty="0"/>
              <a:t>ASPAC, EMEA, LATAM, NA, Global</a:t>
            </a:r>
          </a:p>
          <a:p>
            <a:pPr marL="795655"/>
            <a:endParaRPr lang="en-US" sz="800" b="0" dirty="0"/>
          </a:p>
          <a:p>
            <a:pPr marL="0" marR="0">
              <a:spcBef>
                <a:spcPts val="0"/>
              </a:spcBef>
              <a:spcAft>
                <a:spcPts val="0"/>
              </a:spcAft>
            </a:pPr>
            <a:r>
              <a:rPr lang="en-US" sz="1100" b="1" dirty="0">
                <a:effectLst/>
                <a:latin typeface="Calibri" panose="020F0502020204030204" pitchFamily="34" charset="0"/>
                <a:ea typeface="Calibri" panose="020F0502020204030204" pitchFamily="34" charset="0"/>
              </a:rPr>
              <a:t>Supply Chain Organization:</a:t>
            </a: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Enterprise Supply Chai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CB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Deliver</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Enterprise Quality</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Procur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amp;D</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upply Chain</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Janssen</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MedTech</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CS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Acclarent</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Biosense Webster</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Cerenovu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Mentor</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terlmed</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Not Applicable</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DP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Cement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Joint Reconstruction</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Power Tool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pine</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ports and Shoulders</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TECA</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ETH</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Biosurgery</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Digital Surgery</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Endo Mechanic</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Wound Closure</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Not Applicable</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HMD</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Not Applicable</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Vision</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Surgical Vision</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Vision Care</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Not Applicable</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100" b="1" dirty="0">
                <a:effectLst/>
                <a:latin typeface="Calibri" panose="020F0502020204030204" pitchFamily="34" charset="0"/>
                <a:ea typeface="Calibri" panose="020F0502020204030204" pitchFamily="34" charset="0"/>
              </a:rPr>
              <a:t>APL</a:t>
            </a: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Customer Connectivity</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Analytic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Customer Experienc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igital Channel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igital Contracts Manag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Hospital Systems Integration &amp; Order Management</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Data</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ERP </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Bolt-On Non SAP or Oracle/JD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Bolt-On Oracl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Bolt-On SAP</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ata and Analytic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Integration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Non-SAP or Oracl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Oracle/JD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Product Identification and Brand Protectio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Cross Application Model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Finance/Accounting</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Logistic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Other</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Supply Chain Manag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AP-Technical</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Integrated Solution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Acquisitions and Divestiture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ata and Analytic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upply Chain Programs</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Logistic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ata Acquisitio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istributio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Engineering Facilitie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Labeling and Printing</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Transportation</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Wingdings" panose="05000000000000000000" pitchFamily="2" charset="2"/>
              <a:buChar char=""/>
            </a:pPr>
            <a:r>
              <a:rPr lang="en-US" sz="1100" dirty="0">
                <a:effectLst/>
                <a:latin typeface="Calibri" panose="020F0502020204030204" pitchFamily="34" charset="0"/>
                <a:ea typeface="Times New Roman" panose="02020603050405020304" pitchFamily="18" charset="0"/>
              </a:rPr>
              <a:t>Mak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Asset Manag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Automation &amp; Data</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igital Associate</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Digital Factory</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Engineering/Facilitie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Enterprise Resource Manag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Historia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Labeling/Content Managemen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Make Data</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MedTech</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MES</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Pharma Manufacturing</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erializatio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Surgical Vision</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Vision Contact</a:t>
            </a:r>
            <a:endParaRPr lang="en-US" sz="1100" dirty="0">
              <a:effectLst/>
              <a:latin typeface="Calibri" panose="020F0502020204030204" pitchFamily="34" charset="0"/>
              <a:ea typeface="Calibri" panose="020F0502020204030204" pitchFamily="34" charset="0"/>
            </a:endParaRPr>
          </a:p>
          <a:p>
            <a:pPr marL="1200150" marR="0" lvl="2"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Visual Factory</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100" b="1" dirty="0">
                <a:effectLst/>
                <a:latin typeface="Calibri" panose="020F0502020204030204" pitchFamily="34" charset="0"/>
                <a:ea typeface="Calibri" panose="020F0502020204030204" pitchFamily="34" charset="0"/>
              </a:rPr>
              <a:t>Type of initiative: </a:t>
            </a:r>
          </a:p>
          <a:p>
            <a:pPr marL="800100" marR="0" lvl="1"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Run-Base</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Run-Compliance</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Grow: if we are enhancing existing business capabilities</a:t>
            </a:r>
            <a:endParaRPr lang="en-US" sz="1100" dirty="0">
              <a:effectLst/>
              <a:latin typeface="Calibri" panose="020F0502020204030204" pitchFamily="34" charset="0"/>
              <a:ea typeface="Calibri" panose="020F0502020204030204" pitchFamily="34" charset="0"/>
            </a:endParaRPr>
          </a:p>
          <a:p>
            <a:pPr marL="800100" marR="0" lvl="1"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Transform: helping business do things differently</a:t>
            </a:r>
            <a:endParaRPr lang="en-US" sz="1100" dirty="0">
              <a:effectLst/>
              <a:latin typeface="Calibri" panose="020F0502020204030204" pitchFamily="34" charset="0"/>
              <a:ea typeface="Calibri" panose="020F0502020204030204" pitchFamily="34" charset="0"/>
            </a:endParaRPr>
          </a:p>
          <a:p>
            <a:pPr marL="795655"/>
            <a:endParaRPr lang="en-US" b="0" dirty="0"/>
          </a:p>
        </p:txBody>
      </p:sp>
      <p:sp>
        <p:nvSpPr>
          <p:cNvPr id="23556" name="Slide Number Placeholder 3"/>
          <p:cNvSpPr>
            <a:spLocks noGrp="1"/>
          </p:cNvSpPr>
          <p:nvPr>
            <p:ph type="sldNum" sz="quarter" idx="5"/>
          </p:nvPr>
        </p:nvSpPr>
        <p:spPr>
          <a:noFill/>
        </p:spPr>
        <p:txBody>
          <a:bodyPr/>
          <a:lstStyle/>
          <a:p>
            <a:pPr marL="0" marR="0" lvl="0" indent="0" algn="r" defTabSz="888810" rtl="0" eaLnBrk="1" fontAlgn="auto" latinLnBrk="0" hangingPunct="1">
              <a:lnSpc>
                <a:spcPct val="100000"/>
              </a:lnSpc>
              <a:spcBef>
                <a:spcPts val="0"/>
              </a:spcBef>
              <a:spcAft>
                <a:spcPts val="0"/>
              </a:spcAft>
              <a:buClrTx/>
              <a:buSzTx/>
              <a:buFontTx/>
              <a:buNone/>
              <a:tabLst/>
              <a:defRPr/>
            </a:pPr>
            <a:fld id="{CEEBBFCF-45B6-4569-BC0F-7F952E982FC4}"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88881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745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61CEE-29AA-F052-7530-8AAB7CA2F4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3B233C-9C76-BE15-4BB7-C905C3D970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5188F-C212-95FB-FB83-B6A7D5E2F084}"/>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0598DCAB-91D3-4236-8558-E827330860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168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3BA4F-D7CE-8F2C-DDCA-9D719BD880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CF697B-77A0-8503-7186-8564024EC1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008DEC-B3D6-4691-0E2E-09C70E0B66D3}"/>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E71475B4-AB62-6F73-69DA-91D43E4CE9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919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13350-CB33-1A0D-118D-AE6E5D5BCB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98B200-5977-C9CC-ADD2-3952DC09D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4DA6B4-6C98-D1B3-8B34-00E0420DDF16}"/>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2BD0524A-73E2-D767-4262-49EA81F36B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503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9BA66-D135-D01E-FA0F-B0A85A3637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4CAE2F-9391-4C04-53D4-653B28F6BF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41E046-7762-4A0E-E5CF-99BC8F690316}"/>
              </a:ext>
            </a:extLst>
          </p:cNvPr>
          <p:cNvSpPr>
            <a:spLocks noGrp="1"/>
          </p:cNvSpPr>
          <p:nvPr>
            <p:ph type="body" idx="1"/>
          </p:nvPr>
        </p:nvSpPr>
        <p:spPr/>
        <p:txBody>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 Fit</a:t>
            </a:r>
          </a:p>
          <a:p>
            <a:pPr marL="742950" lvl="1" indent="-285750">
              <a:buFont typeface="Arial" panose="020B0604020202020204" pitchFamily="34" charset="0"/>
              <a:buChar char="•"/>
            </a:pPr>
            <a:r>
              <a:rPr lang="en-US" dirty="0"/>
              <a:t>Key process areas of direct fit</a:t>
            </a:r>
          </a:p>
          <a:p>
            <a:pPr marL="742950" lvl="1" indent="-285750">
              <a:buFont typeface="Arial" panose="020B0604020202020204" pitchFamily="34" charset="0"/>
              <a:buChar char="•"/>
            </a:pPr>
            <a:r>
              <a:rPr lang="en-US" dirty="0"/>
              <a:t>Key process areas of currently manual work that will be automated due to future state tech solution </a:t>
            </a:r>
          </a:p>
          <a:p>
            <a:pPr marL="742950" lvl="1" indent="-285750">
              <a:buFont typeface="Arial" panose="020B0604020202020204" pitchFamily="34" charset="0"/>
              <a:buChar char="•"/>
            </a:pPr>
            <a:r>
              <a:rPr lang="en-US" kern="1200" dirty="0">
                <a:solidFill>
                  <a:schemeClr val="tx1"/>
                </a:solidFill>
                <a:latin typeface="+mn-lt"/>
                <a:ea typeface="+mn-ea"/>
                <a:cs typeface="+mn-cs"/>
              </a:rPr>
              <a:t>Key process a</a:t>
            </a:r>
            <a:r>
              <a:rPr lang="en-US" dirty="0"/>
              <a:t>reas that can be eliminated due to future state processes</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that will be transfor</a:t>
            </a:r>
            <a:r>
              <a:rPr lang="en-US" dirty="0"/>
              <a:t>med (change in Sterilmed processes that will gain efficiency or effectiveness)</a:t>
            </a:r>
          </a:p>
          <a:p>
            <a:pPr marL="742950" lvl="1" indent="-285750">
              <a:buFont typeface="Arial" panose="020B0604020202020204" pitchFamily="34" charset="0"/>
              <a:buChar char="•"/>
            </a:pPr>
            <a:endParaRPr lang="en-US" kern="1200" dirty="0">
              <a:solidFill>
                <a:schemeClr val="tx1"/>
              </a:solidFill>
              <a:latin typeface="+mn-lt"/>
              <a:ea typeface="+mn-ea"/>
              <a:cs typeface="+mn-cs"/>
            </a:endParaRPr>
          </a:p>
          <a:p>
            <a:pPr marL="285750" indent="-285750">
              <a:buFont typeface="Arial" panose="020B0604020202020204" pitchFamily="34" charset="0"/>
              <a:buChar char="•"/>
            </a:pPr>
            <a:r>
              <a:rPr lang="en-US" dirty="0"/>
              <a:t>% Gap</a:t>
            </a:r>
          </a:p>
          <a:p>
            <a:pPr marL="742950" lvl="1" indent="-285750">
              <a:buFont typeface="Arial" panose="020B0604020202020204" pitchFamily="34" charset="0"/>
              <a:buChar char="•"/>
            </a:pPr>
            <a:r>
              <a:rPr lang="en-US" kern="1200" dirty="0">
                <a:solidFill>
                  <a:schemeClr val="tx1"/>
                </a:solidFill>
                <a:latin typeface="+mn-lt"/>
                <a:ea typeface="+mn-ea"/>
                <a:cs typeface="+mn-cs"/>
              </a:rPr>
              <a:t>Key areas </a:t>
            </a:r>
            <a:r>
              <a:rPr lang="en-US" dirty="0"/>
              <a:t>that are not a fit to the CSS solution</a:t>
            </a:r>
          </a:p>
          <a:p>
            <a:pPr marL="742950" lvl="1" indent="-285750">
              <a:buFont typeface="Arial" panose="020B0604020202020204" pitchFamily="34" charset="0"/>
              <a:buChar char="•"/>
            </a:pPr>
            <a:r>
              <a:rPr lang="en-US" kern="1200" dirty="0">
                <a:solidFill>
                  <a:schemeClr val="tx1"/>
                </a:solidFill>
                <a:latin typeface="+mn-lt"/>
                <a:ea typeface="+mn-ea"/>
                <a:cs typeface="+mn-cs"/>
              </a:rPr>
              <a:t>What is the business decision for those are</a:t>
            </a:r>
            <a:r>
              <a:rPr lang="en-US" dirty="0"/>
              <a:t>as?</a:t>
            </a:r>
          </a:p>
          <a:p>
            <a:pPr marL="1200150" lvl="2" indent="-285750">
              <a:buFont typeface="Arial" panose="020B0604020202020204" pitchFamily="34" charset="0"/>
              <a:buChar char="•"/>
            </a:pPr>
            <a:r>
              <a:rPr lang="en-US" kern="1200" dirty="0">
                <a:solidFill>
                  <a:schemeClr val="tx1"/>
                </a:solidFill>
                <a:latin typeface="+mn-lt"/>
                <a:ea typeface="+mn-ea"/>
                <a:cs typeface="+mn-cs"/>
              </a:rPr>
              <a:t>Change business process to adopt CSS solution in that area</a:t>
            </a:r>
          </a:p>
          <a:p>
            <a:pPr marL="1200150" lvl="2" indent="-285750">
              <a:buFont typeface="Arial" panose="020B0604020202020204" pitchFamily="34" charset="0"/>
              <a:buChar char="•"/>
            </a:pPr>
            <a:r>
              <a:rPr lang="en-US" dirty="0"/>
              <a:t>Continue Streamed process outside CSS standard process</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y initial $ calcs</a:t>
            </a:r>
          </a:p>
          <a:p>
            <a:endParaRPr lang="en-US" dirty="0"/>
          </a:p>
        </p:txBody>
      </p:sp>
      <p:sp>
        <p:nvSpPr>
          <p:cNvPr id="4" name="Slide Number Placeholder 3">
            <a:extLst>
              <a:ext uri="{FF2B5EF4-FFF2-40B4-BE49-F238E27FC236}">
                <a16:creationId xmlns:a16="http://schemas.microsoft.com/office/drawing/2014/main" id="{AA69C641-E205-05D9-3FA2-DA08370C82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7420C-C6B4-4441-B5B9-1BBA12610E34}"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SG"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0075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0"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1" y="7032578"/>
            <a:ext cx="3794119" cy="694460"/>
          </a:xfrm>
          <a:prstGeom prst="rect">
            <a:avLst/>
          </a:prstGeom>
        </p:spPr>
      </p:pic>
    </p:spTree>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26441" y="2055500"/>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7422777" y="2055497"/>
            <a:ext cx="6482080" cy="5003610"/>
          </a:xfrm>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4217004448"/>
      </p:ext>
    </p:extLst>
  </p:cSld>
  <p:clrMapOvr>
    <a:masterClrMapping/>
  </p:clrMapOvr>
  <p:transition>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o layou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26441" y="2055500"/>
            <a:ext cx="6482080" cy="5003608"/>
          </a:xfrm>
        </p:spPr>
        <p:txBody>
          <a:bodyPr/>
          <a:lstStyle>
            <a:lvl1pPr marL="0" indent="0">
              <a:buNone/>
              <a:defRPr>
                <a:solidFill>
                  <a:srgbClr val="595959"/>
                </a:solidFill>
              </a:defRPr>
            </a:lvl1pPr>
            <a:lvl2pPr marL="260593" indent="0">
              <a:buNone/>
              <a:defRPr>
                <a:solidFill>
                  <a:srgbClr val="595959"/>
                </a:solidFill>
              </a:defRPr>
            </a:lvl2pPr>
            <a:lvl3pPr marL="636396" indent="0">
              <a:buNone/>
              <a:defRPr>
                <a:solidFill>
                  <a:srgbClr val="595959"/>
                </a:solidFill>
              </a:defRPr>
            </a:lvl3pPr>
            <a:lvl4pPr marL="1075291" indent="0">
              <a:buNone/>
              <a:defRPr>
                <a:solidFill>
                  <a:srgbClr val="595959"/>
                </a:solidFill>
              </a:defRPr>
            </a:lvl4pPr>
            <a:lvl5pPr marL="1556132" indent="0">
              <a:buNone/>
              <a:defRPr>
                <a:solidFill>
                  <a:srgbClr val="595959"/>
                </a:solidFill>
              </a:defRPr>
            </a:lvl5pPr>
          </a:lstStyle>
          <a:p>
            <a:pPr lvl="0"/>
            <a:r>
              <a:rPr lang="en-US"/>
              <a:t>Edit Master text styles</a:t>
            </a:r>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1" y="454150"/>
            <a:ext cx="6588760" cy="692497"/>
          </a:xfrm>
        </p:spPr>
        <p:txBody>
          <a:bodyPr/>
          <a:lstStyle>
            <a:lvl1pPr>
              <a:defRPr kern="1500" spc="-100" baseline="0">
                <a:solidFill>
                  <a:schemeClr val="tx1"/>
                </a:solidFill>
              </a:defRPr>
            </a:lvl1pPr>
          </a:lstStyle>
          <a:p>
            <a:r>
              <a:rPr lang="en-US"/>
              <a:t>Click to edit Master title</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Content Placeholder 30">
            <a:extLst>
              <a:ext uri="{FF2B5EF4-FFF2-40B4-BE49-F238E27FC236}">
                <a16:creationId xmlns:a16="http://schemas.microsoft.com/office/drawing/2014/main" id="{37E9AC5D-F6EB-CE40-9936-5793341DCC66}"/>
              </a:ext>
            </a:extLst>
          </p:cNvPr>
          <p:cNvSpPr>
            <a:spLocks noGrp="1"/>
          </p:cNvSpPr>
          <p:nvPr>
            <p:ph sz="quarter" idx="18"/>
          </p:nvPr>
        </p:nvSpPr>
        <p:spPr>
          <a:xfrm>
            <a:off x="7755027" y="952798"/>
            <a:ext cx="6164354" cy="6163459"/>
          </a:xfrm>
        </p:spPr>
        <p:txBody>
          <a:bodyPr/>
          <a:lstStyle/>
          <a:p>
            <a:endParaRPr lang="en-US"/>
          </a:p>
        </p:txBody>
      </p:sp>
      <p:sp>
        <p:nvSpPr>
          <p:cNvPr id="18" name="Text Placeholder 4">
            <a:extLst>
              <a:ext uri="{FF2B5EF4-FFF2-40B4-BE49-F238E27FC236}">
                <a16:creationId xmlns:a16="http://schemas.microsoft.com/office/drawing/2014/main" id="{9F61B276-111F-0F49-AA22-140F5A6A7DE0}"/>
              </a:ext>
            </a:extLst>
          </p:cNvPr>
          <p:cNvSpPr>
            <a:spLocks noGrp="1"/>
          </p:cNvSpPr>
          <p:nvPr>
            <p:ph type="body" sz="quarter" idx="10"/>
          </p:nvPr>
        </p:nvSpPr>
        <p:spPr>
          <a:xfrm>
            <a:off x="726441" y="1222847"/>
            <a:ext cx="5526079"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1848481818"/>
      </p:ext>
    </p:extLst>
  </p:cSld>
  <p:clrMapOvr>
    <a:masterClrMapping/>
  </p:clrMapOvr>
  <p:transition>
    <p:fade/>
  </p:transition>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7" name="Content Placeholder 11"/>
          <p:cNvSpPr>
            <a:spLocks noGrp="1"/>
          </p:cNvSpPr>
          <p:nvPr>
            <p:ph sz="quarter" idx="26"/>
          </p:nvPr>
        </p:nvSpPr>
        <p:spPr>
          <a:xfrm>
            <a:off x="5206702" y="2021631"/>
            <a:ext cx="8697258" cy="5037476"/>
          </a:xfrm>
        </p:spPr>
        <p:txBody>
          <a:bodyPr/>
          <a:lstStyle>
            <a:lvl1pPr marL="0" indent="0">
              <a:buNone/>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p:cNvSpPr>
            <a:spLocks noGrp="1"/>
          </p:cNvSpPr>
          <p:nvPr>
            <p:ph type="body" sz="quarter" idx="27" hasCustomPrompt="1"/>
          </p:nvPr>
        </p:nvSpPr>
        <p:spPr>
          <a:xfrm>
            <a:off x="737871" y="2055500"/>
            <a:ext cx="4199890" cy="5003608"/>
          </a:xfrm>
        </p:spPr>
        <p:txBody>
          <a:bodyPr/>
          <a:lstStyle>
            <a:lvl1pPr>
              <a:defRPr sz="2500">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p:txBody>
      </p:sp>
      <p:sp>
        <p:nvSpPr>
          <p:cNvPr id="19"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221693836"/>
      </p:ext>
    </p:extLst>
  </p:cSld>
  <p:clrMapOvr>
    <a:masterClrMapping/>
  </p:clrMapOvr>
  <p:transition>
    <p:fade/>
  </p:transition>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9"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Slide Number Placeholder 5">
            <a:extLst>
              <a:ext uri="{FF2B5EF4-FFF2-40B4-BE49-F238E27FC236}">
                <a16:creationId xmlns:a16="http://schemas.microsoft.com/office/drawing/2014/main" id="{A1F18C78-6B4E-4741-AC78-006AA2AF011E}"/>
              </a:ext>
            </a:extLst>
          </p:cNvPr>
          <p:cNvSpPr txBox="1">
            <a:spLocks/>
          </p:cNvSpPr>
          <p:nvPr userDrawn="1"/>
        </p:nvSpPr>
        <p:spPr>
          <a:xfrm>
            <a:off x="29753136"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C8102E"/>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pPr/>
              <a:t>‹#›</a:t>
            </a:fld>
            <a:endParaRPr lang="en-US" sz="960" dirty="0"/>
          </a:p>
        </p:txBody>
      </p:sp>
      <p:sp>
        <p:nvSpPr>
          <p:cNvPr id="23" name="Picture Placeholder 2">
            <a:extLst>
              <a:ext uri="{FF2B5EF4-FFF2-40B4-BE49-F238E27FC236}">
                <a16:creationId xmlns:a16="http://schemas.microsoft.com/office/drawing/2014/main" id="{02648577-FAC1-4B4E-BFCD-47D88E7BA13C}"/>
              </a:ext>
            </a:extLst>
          </p:cNvPr>
          <p:cNvSpPr>
            <a:spLocks noGrp="1"/>
          </p:cNvSpPr>
          <p:nvPr>
            <p:ph type="pic" sz="quarter" idx="33"/>
          </p:nvPr>
        </p:nvSpPr>
        <p:spPr>
          <a:xfrm>
            <a:off x="729615" y="2021632"/>
            <a:ext cx="4216400" cy="5037476"/>
          </a:xfrm>
        </p:spPr>
        <p:txBody>
          <a:bodyPr/>
          <a:lstStyle/>
          <a:p>
            <a:endParaRPr lang="en-US" dirty="0"/>
          </a:p>
        </p:txBody>
      </p:sp>
      <p:sp>
        <p:nvSpPr>
          <p:cNvPr id="24" name="Text Placeholder 4">
            <a:extLst>
              <a:ext uri="{FF2B5EF4-FFF2-40B4-BE49-F238E27FC236}">
                <a16:creationId xmlns:a16="http://schemas.microsoft.com/office/drawing/2014/main" id="{88000DC0-46E4-F848-8F95-4855A6A28DFB}"/>
              </a:ext>
            </a:extLst>
          </p:cNvPr>
          <p:cNvSpPr>
            <a:spLocks noGrp="1"/>
          </p:cNvSpPr>
          <p:nvPr>
            <p:ph type="body" sz="quarter" idx="34"/>
          </p:nvPr>
        </p:nvSpPr>
        <p:spPr>
          <a:xfrm>
            <a:off x="5207001" y="2020888"/>
            <a:ext cx="8705850" cy="5037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8094007"/>
      </p:ext>
    </p:extLst>
  </p:cSld>
  <p:clrMapOvr>
    <a:masterClrMapping/>
  </p:clrMapOvr>
  <p:transition>
    <p:fade/>
  </p:transition>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500"/>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1" y="2055497"/>
            <a:ext cx="6482080" cy="5003608"/>
          </a:xfrm>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2469726908"/>
      </p:ext>
    </p:extLst>
  </p:cSld>
  <p:clrMapOvr>
    <a:masterClrMapping/>
  </p:clrMapOvr>
  <p:transition>
    <p:fade/>
  </p:transition>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ub, RIGHT HALF bullets">
    <p:bg>
      <p:bgPr>
        <a:solidFill>
          <a:schemeClr val="bg1"/>
        </a:solidFill>
        <a:effectLst/>
      </p:bgPr>
    </p:bg>
    <p:spTree>
      <p:nvGrpSpPr>
        <p:cNvPr id="1" name=""/>
        <p:cNvGrpSpPr/>
        <p:nvPr/>
      </p:nvGrpSpPr>
      <p:grpSpPr>
        <a:xfrm>
          <a:off x="0" y="0"/>
          <a:ext cx="0" cy="0"/>
          <a:chOff x="0" y="0"/>
          <a:chExt cx="0" cy="0"/>
        </a:xfrm>
      </p:grpSpPr>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
        <p:nvSpPr>
          <p:cNvPr id="13" name="Rectangle 12">
            <a:extLst>
              <a:ext uri="{FF2B5EF4-FFF2-40B4-BE49-F238E27FC236}">
                <a16:creationId xmlns:a16="http://schemas.microsoft.com/office/drawing/2014/main" id="{EB726643-E58E-CC48-AF17-2A78BB6C30D4}"/>
              </a:ext>
            </a:extLst>
          </p:cNvPr>
          <p:cNvSpPr/>
          <p:nvPr userDrawn="1"/>
        </p:nvSpPr>
        <p:spPr bwMode="auto">
          <a:xfrm>
            <a:off x="721361"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12E188AA-0D2B-E449-A0C8-1EFBC82B9C91}"/>
              </a:ext>
            </a:extLst>
          </p:cNvPr>
          <p:cNvSpPr/>
          <p:nvPr userDrawn="1"/>
        </p:nvSpPr>
        <p:spPr bwMode="auto">
          <a:xfrm>
            <a:off x="10811606"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3C5CF704-52FC-5740-8859-CC46FFF32894}"/>
              </a:ext>
            </a:extLst>
          </p:cNvPr>
          <p:cNvSpPr/>
          <p:nvPr userDrawn="1"/>
        </p:nvSpPr>
        <p:spPr bwMode="auto">
          <a:xfrm>
            <a:off x="4090888"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Rectangle 16">
            <a:extLst>
              <a:ext uri="{FF2B5EF4-FFF2-40B4-BE49-F238E27FC236}">
                <a16:creationId xmlns:a16="http://schemas.microsoft.com/office/drawing/2014/main" id="{63914D36-44F9-2F48-BE16-3B089B393692}"/>
              </a:ext>
            </a:extLst>
          </p:cNvPr>
          <p:cNvSpPr/>
          <p:nvPr userDrawn="1"/>
        </p:nvSpPr>
        <p:spPr bwMode="auto">
          <a:xfrm>
            <a:off x="7451247"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 Placeholder 12">
            <a:extLst>
              <a:ext uri="{FF2B5EF4-FFF2-40B4-BE49-F238E27FC236}">
                <a16:creationId xmlns:a16="http://schemas.microsoft.com/office/drawing/2014/main" id="{98E77801-14E1-F447-BA28-6AB45414E1A8}"/>
              </a:ext>
            </a:extLst>
          </p:cNvPr>
          <p:cNvSpPr txBox="1">
            <a:spLocks/>
          </p:cNvSpPr>
          <p:nvPr userDrawn="1"/>
        </p:nvSpPr>
        <p:spPr>
          <a:xfrm>
            <a:off x="-3261245" y="2449769"/>
            <a:ext cx="2763132" cy="3215052"/>
          </a:xfrm>
          <a:prstGeom prst="rect">
            <a:avLst/>
          </a:prstGeom>
        </p:spPr>
        <p:txBody>
          <a:bodyPr/>
          <a:lstStyle>
            <a:lvl1pPr marL="241402" indent="-285293"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40" indent="-28803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824" indent="-24140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736" indent="-24140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557" indent="-22936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468"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a:lstStyle>
          <a:p>
            <a:pPr marL="0" indent="0" defTabSz="914364">
              <a:buNone/>
            </a:pPr>
            <a:endParaRPr lang="en-US" sz="1800" kern="0" dirty="0"/>
          </a:p>
        </p:txBody>
      </p:sp>
      <p:sp>
        <p:nvSpPr>
          <p:cNvPr id="27" name="Text Placeholder 2">
            <a:extLst>
              <a:ext uri="{FF2B5EF4-FFF2-40B4-BE49-F238E27FC236}">
                <a16:creationId xmlns:a16="http://schemas.microsoft.com/office/drawing/2014/main" id="{D3DE7820-60D0-2A47-98FB-E1D6F0ECB6D9}"/>
              </a:ext>
            </a:extLst>
          </p:cNvPr>
          <p:cNvSpPr>
            <a:spLocks noGrp="1"/>
          </p:cNvSpPr>
          <p:nvPr>
            <p:ph type="body" sz="quarter" idx="18"/>
          </p:nvPr>
        </p:nvSpPr>
        <p:spPr>
          <a:xfrm>
            <a:off x="893764"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28" name="Text Placeholder 2">
            <a:extLst>
              <a:ext uri="{FF2B5EF4-FFF2-40B4-BE49-F238E27FC236}">
                <a16:creationId xmlns:a16="http://schemas.microsoft.com/office/drawing/2014/main" id="{46258EAD-CB9B-C745-A692-276ADD6A527E}"/>
              </a:ext>
            </a:extLst>
          </p:cNvPr>
          <p:cNvSpPr>
            <a:spLocks noGrp="1"/>
          </p:cNvSpPr>
          <p:nvPr>
            <p:ph type="body" sz="quarter" idx="19"/>
          </p:nvPr>
        </p:nvSpPr>
        <p:spPr>
          <a:xfrm>
            <a:off x="4358859"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0" name="Text Placeholder 2">
            <a:extLst>
              <a:ext uri="{FF2B5EF4-FFF2-40B4-BE49-F238E27FC236}">
                <a16:creationId xmlns:a16="http://schemas.microsoft.com/office/drawing/2014/main" id="{8F6C0358-B85F-6E44-A9CD-2F332E6CD4B9}"/>
              </a:ext>
            </a:extLst>
          </p:cNvPr>
          <p:cNvSpPr>
            <a:spLocks noGrp="1"/>
          </p:cNvSpPr>
          <p:nvPr>
            <p:ph type="body" sz="quarter" idx="20"/>
          </p:nvPr>
        </p:nvSpPr>
        <p:spPr>
          <a:xfrm>
            <a:off x="7679574"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3" name="Text Placeholder 4">
            <a:extLst>
              <a:ext uri="{FF2B5EF4-FFF2-40B4-BE49-F238E27FC236}">
                <a16:creationId xmlns:a16="http://schemas.microsoft.com/office/drawing/2014/main" id="{7E4F1039-CF58-6A43-BB44-5674AA4F98B6}"/>
              </a:ext>
            </a:extLst>
          </p:cNvPr>
          <p:cNvSpPr>
            <a:spLocks noGrp="1"/>
          </p:cNvSpPr>
          <p:nvPr>
            <p:ph type="body" sz="quarter" idx="21"/>
          </p:nvPr>
        </p:nvSpPr>
        <p:spPr>
          <a:xfrm>
            <a:off x="964995" y="2569860"/>
            <a:ext cx="2605088" cy="3214687"/>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4" name="Text Placeholder 4">
            <a:extLst>
              <a:ext uri="{FF2B5EF4-FFF2-40B4-BE49-F238E27FC236}">
                <a16:creationId xmlns:a16="http://schemas.microsoft.com/office/drawing/2014/main" id="{F69411A7-265F-C24E-8A73-1D09829D496C}"/>
              </a:ext>
            </a:extLst>
          </p:cNvPr>
          <p:cNvSpPr>
            <a:spLocks noGrp="1"/>
          </p:cNvSpPr>
          <p:nvPr>
            <p:ph type="body" sz="quarter" idx="22"/>
          </p:nvPr>
        </p:nvSpPr>
        <p:spPr>
          <a:xfrm>
            <a:off x="4367595"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5" name="Text Placeholder 4">
            <a:extLst>
              <a:ext uri="{FF2B5EF4-FFF2-40B4-BE49-F238E27FC236}">
                <a16:creationId xmlns:a16="http://schemas.microsoft.com/office/drawing/2014/main" id="{4D589452-3E57-D440-9FB0-6E4868DB139E}"/>
              </a:ext>
            </a:extLst>
          </p:cNvPr>
          <p:cNvSpPr>
            <a:spLocks noGrp="1"/>
          </p:cNvSpPr>
          <p:nvPr>
            <p:ph type="body" sz="quarter" idx="23"/>
          </p:nvPr>
        </p:nvSpPr>
        <p:spPr>
          <a:xfrm>
            <a:off x="7672269"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6" name="Text Placeholder 4">
            <a:extLst>
              <a:ext uri="{FF2B5EF4-FFF2-40B4-BE49-F238E27FC236}">
                <a16:creationId xmlns:a16="http://schemas.microsoft.com/office/drawing/2014/main" id="{B4D1912F-14CA-384D-A430-5E9D99E3206C}"/>
              </a:ext>
            </a:extLst>
          </p:cNvPr>
          <p:cNvSpPr>
            <a:spLocks noGrp="1"/>
          </p:cNvSpPr>
          <p:nvPr>
            <p:ph type="body" sz="quarter" idx="24"/>
          </p:nvPr>
        </p:nvSpPr>
        <p:spPr>
          <a:xfrm>
            <a:off x="11025069"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7" name="Text Placeholder 2">
            <a:extLst>
              <a:ext uri="{FF2B5EF4-FFF2-40B4-BE49-F238E27FC236}">
                <a16:creationId xmlns:a16="http://schemas.microsoft.com/office/drawing/2014/main" id="{57F6A302-A023-0448-9894-EF9B860FE511}"/>
              </a:ext>
            </a:extLst>
          </p:cNvPr>
          <p:cNvSpPr>
            <a:spLocks noGrp="1"/>
          </p:cNvSpPr>
          <p:nvPr>
            <p:ph type="body" sz="quarter" idx="25"/>
          </p:nvPr>
        </p:nvSpPr>
        <p:spPr>
          <a:xfrm>
            <a:off x="11025069"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Tree>
    <p:extLst>
      <p:ext uri="{BB962C8B-B14F-4D97-AF65-F5344CB8AC3E}">
        <p14:creationId xmlns:p14="http://schemas.microsoft.com/office/powerpoint/2010/main" val="3950488235"/>
      </p:ext>
    </p:extLst>
  </p:cSld>
  <p:clrMapOvr>
    <a:masterClrMapping/>
  </p:clrMapOvr>
  <p:transition>
    <p:fade/>
  </p:transition>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55497"/>
            <a:ext cx="4211320" cy="5003610"/>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055497"/>
            <a:ext cx="4211320" cy="5003610"/>
          </a:xfrm>
          <a:noFill/>
        </p:spPr>
        <p:txBody>
          <a:bodyPr anchor="t"/>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055497"/>
            <a:ext cx="4211320" cy="5003610"/>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438EE667-2F4C-514E-9DE6-F69F8D6309A2}"/>
              </a:ext>
            </a:extLst>
          </p:cNvPr>
          <p:cNvSpPr>
            <a:spLocks noGrp="1"/>
          </p:cNvSpPr>
          <p:nvPr>
            <p:ph type="body" sz="quarter" idx="21"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2BBFA237-3D8D-F54C-9FB5-A168612D87BE}"/>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3370151563"/>
      </p:ext>
    </p:extLst>
  </p:cSld>
  <p:clrMapOvr>
    <a:masterClrMapping/>
  </p:clrMapOvr>
  <p:transition>
    <p:fade/>
  </p:transition>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 columns 1x3 wht">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92554"/>
            <a:ext cx="4211320" cy="2798832"/>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092555"/>
            <a:ext cx="4211320" cy="2798831"/>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092554"/>
            <a:ext cx="4211320" cy="2798832"/>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D16FFE8E-339D-0F4B-9419-5DB052A78E3B}"/>
              </a:ext>
            </a:extLst>
          </p:cNvPr>
          <p:cNvSpPr>
            <a:spLocks noGrp="1"/>
          </p:cNvSpPr>
          <p:nvPr>
            <p:ph type="body" sz="quarter" idx="21"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00000"/>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321AC04F-7228-2D40-90FB-B273CB8C5AB6}"/>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
        <p:nvSpPr>
          <p:cNvPr id="3" name="Text Placeholder 2">
            <a:extLst>
              <a:ext uri="{FF2B5EF4-FFF2-40B4-BE49-F238E27FC236}">
                <a16:creationId xmlns:a16="http://schemas.microsoft.com/office/drawing/2014/main" id="{340B2714-83A7-BB46-9D36-05FB92B16BBF}"/>
              </a:ext>
            </a:extLst>
          </p:cNvPr>
          <p:cNvSpPr>
            <a:spLocks noGrp="1"/>
          </p:cNvSpPr>
          <p:nvPr>
            <p:ph type="body" sz="quarter" idx="22"/>
          </p:nvPr>
        </p:nvSpPr>
        <p:spPr>
          <a:xfrm>
            <a:off x="720725"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C6F4DF9C-6A5A-5141-A4C8-0DF45E3D9E10}"/>
              </a:ext>
            </a:extLst>
          </p:cNvPr>
          <p:cNvSpPr>
            <a:spLocks noGrp="1"/>
          </p:cNvSpPr>
          <p:nvPr>
            <p:ph type="body" sz="quarter" idx="23"/>
          </p:nvPr>
        </p:nvSpPr>
        <p:spPr>
          <a:xfrm>
            <a:off x="5192712"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7BCD16B9-CCE5-5F41-B9C5-5E81442329C0}"/>
              </a:ext>
            </a:extLst>
          </p:cNvPr>
          <p:cNvSpPr>
            <a:spLocks noGrp="1"/>
          </p:cNvSpPr>
          <p:nvPr>
            <p:ph type="body" sz="quarter" idx="24"/>
          </p:nvPr>
        </p:nvSpPr>
        <p:spPr>
          <a:xfrm>
            <a:off x="9650412"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71031817"/>
      </p:ext>
    </p:extLst>
  </p:cSld>
  <p:clrMapOvr>
    <a:masterClrMapping/>
  </p:clrMapOvr>
  <p:transition>
    <p:fade/>
  </p:transition>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661049"/>
            <a:ext cx="4211320" cy="4398058"/>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661049"/>
            <a:ext cx="4211320" cy="4398058"/>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661049"/>
            <a:ext cx="4211320" cy="4398058"/>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725701" y="2016993"/>
            <a:ext cx="4209839" cy="520700"/>
          </a:xfrm>
          <a:solidFill>
            <a:srgbClr val="FFFFFF"/>
          </a:solidFill>
        </p:spPr>
        <p:txBody>
          <a:bodyPr anchor="ctr"/>
          <a:lstStyle>
            <a:lvl1pPr marL="109534" indent="0">
              <a:buNone/>
              <a:defRPr sz="2000" b="1">
                <a:solidFill>
                  <a:schemeClr val="accent3"/>
                </a:solidFill>
              </a:defRPr>
            </a:lvl1pPr>
          </a:lstStyle>
          <a:p>
            <a:pPr lvl="0"/>
            <a:r>
              <a:rPr lang="en-US"/>
              <a:t>Edit Master text styles</a:t>
            </a:r>
          </a:p>
        </p:txBody>
      </p:sp>
      <p:sp>
        <p:nvSpPr>
          <p:cNvPr id="19" name="Text Placeholder 8"/>
          <p:cNvSpPr>
            <a:spLocks noGrp="1"/>
          </p:cNvSpPr>
          <p:nvPr>
            <p:ph type="body" sz="quarter" idx="23"/>
          </p:nvPr>
        </p:nvSpPr>
        <p:spPr>
          <a:xfrm>
            <a:off x="5212941" y="2016993"/>
            <a:ext cx="4209839" cy="520700"/>
          </a:xfrm>
          <a:solidFill>
            <a:srgbClr val="FFFFFF"/>
          </a:solidFill>
        </p:spPr>
        <p:txBody>
          <a:bodyPr anchor="ctr"/>
          <a:lstStyle>
            <a:lvl1pPr marL="109534" indent="0">
              <a:buNone/>
              <a:defRPr sz="2000" b="1">
                <a:solidFill>
                  <a:schemeClr val="accent2"/>
                </a:solidFill>
              </a:defRPr>
            </a:lvl1pPr>
          </a:lstStyle>
          <a:p>
            <a:pPr lvl="0"/>
            <a:r>
              <a:rPr lang="en-US"/>
              <a:t>Edit Master text styles</a:t>
            </a:r>
          </a:p>
        </p:txBody>
      </p:sp>
      <p:sp>
        <p:nvSpPr>
          <p:cNvPr id="20" name="Text Placeholder 8"/>
          <p:cNvSpPr>
            <a:spLocks noGrp="1"/>
          </p:cNvSpPr>
          <p:nvPr>
            <p:ph type="body" sz="quarter" idx="24"/>
          </p:nvPr>
        </p:nvSpPr>
        <p:spPr>
          <a:xfrm>
            <a:off x="9688087" y="2016993"/>
            <a:ext cx="4221150" cy="520700"/>
          </a:xfrm>
          <a:solidFill>
            <a:srgbClr val="FFFFFF"/>
          </a:solidFill>
        </p:spPr>
        <p:txBody>
          <a:bodyPr anchor="ctr"/>
          <a:lstStyle>
            <a:lvl1pPr marL="109534" indent="0">
              <a:buNone/>
              <a:defRPr sz="2000" b="1">
                <a:solidFill>
                  <a:schemeClr val="accent1"/>
                </a:solidFill>
              </a:defRPr>
            </a:lvl1pPr>
          </a:lstStyle>
          <a:p>
            <a:pPr lvl="0"/>
            <a:r>
              <a:rPr lang="en-US"/>
              <a:t>Edit Master text styles</a:t>
            </a:r>
          </a:p>
        </p:txBody>
      </p:sp>
      <p:sp>
        <p:nvSpPr>
          <p:cNvPr id="12" name="Text Placeholder 3">
            <a:extLst>
              <a:ext uri="{FF2B5EF4-FFF2-40B4-BE49-F238E27FC236}">
                <a16:creationId xmlns:a16="http://schemas.microsoft.com/office/drawing/2014/main" id="{A68BE73F-D78F-D444-9162-708CDF52072F}"/>
              </a:ext>
            </a:extLst>
          </p:cNvPr>
          <p:cNvSpPr>
            <a:spLocks noGrp="1"/>
          </p:cNvSpPr>
          <p:nvPr>
            <p:ph type="body" sz="quarter" idx="25"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Title 1">
            <a:extLst>
              <a:ext uri="{FF2B5EF4-FFF2-40B4-BE49-F238E27FC236}">
                <a16:creationId xmlns:a16="http://schemas.microsoft.com/office/drawing/2014/main" id="{DE085746-F358-8B48-B3DA-0AFACF75E822}"/>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2527787421"/>
      </p:ext>
    </p:extLst>
  </p:cSld>
  <p:clrMapOvr>
    <a:masterClrMapping/>
  </p:clrMapOvr>
  <p:transition>
    <p:fade/>
  </p:transition>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7126C82-A3F3-844B-84CD-4A0A0FE4F981}"/>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8" name="Slide Number Placeholder 5">
            <a:extLst>
              <a:ext uri="{FF2B5EF4-FFF2-40B4-BE49-F238E27FC236}">
                <a16:creationId xmlns:a16="http://schemas.microsoft.com/office/drawing/2014/main" id="{FD2FF53E-E76B-884D-AC96-1F41150C7D6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931468714"/>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0"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26441" y="6833477"/>
            <a:ext cx="13177520" cy="477916"/>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08" y="7266802"/>
            <a:ext cx="13177552" cy="276998"/>
          </a:xfrm>
        </p:spPr>
        <p:txBody>
          <a:bodyPr wrap="square" anchor="b" anchorCtr="0">
            <a:spAutoFit/>
          </a:bodyPr>
          <a:lstStyle>
            <a:lvl1pPr algn="l">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F50E040B-9C9D-1A47-973E-7DECBD6CA6D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Picture Placeholder 2">
            <a:extLst>
              <a:ext uri="{FF2B5EF4-FFF2-40B4-BE49-F238E27FC236}">
                <a16:creationId xmlns:a16="http://schemas.microsoft.com/office/drawing/2014/main" id="{A1177230-E7DB-E345-B033-4DBFCB7E1C3A}"/>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Tree>
    <p:extLst>
      <p:ext uri="{BB962C8B-B14F-4D97-AF65-F5344CB8AC3E}">
        <p14:creationId xmlns:p14="http://schemas.microsoft.com/office/powerpoint/2010/main" val="1977477480"/>
      </p:ext>
    </p:extLst>
  </p:cSld>
  <p:clrMapOvr>
    <a:masterClrMapping/>
  </p:clrMapOvr>
  <p:transition>
    <p:fade/>
  </p:transition>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2443BD8-D2F6-8646-B36D-61A3FE18C975}"/>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4061899491"/>
      </p:ext>
    </p:extLst>
  </p:cSld>
  <p:clrMapOvr>
    <a:masterClrMapping/>
  </p:clrMapOvr>
  <p:transition>
    <p:fade/>
  </p:transition>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rgbClr val="C8102E"/>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390881964"/>
      </p:ext>
    </p:extLst>
  </p:cSld>
  <p:clrMapOvr>
    <a:masterClrMapping/>
  </p:clrMapOvr>
  <p:transition>
    <p:fade/>
  </p:transition>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635173803"/>
      </p:ext>
    </p:extLst>
  </p:cSld>
  <p:clrMapOvr>
    <a:masterClrMapping/>
  </p:clrMapOvr>
  <p:transition>
    <p:fade/>
  </p:transition>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352748706"/>
      </p:ext>
    </p:extLst>
  </p:cSld>
  <p:clrMapOvr>
    <a:masterClrMapping/>
  </p:clrMapOvr>
  <p:transition>
    <p:fade/>
  </p:transition>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F5E5CDCA-7999-6A42-B665-EC2AAA7B46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1457" y="3656703"/>
            <a:ext cx="5063744" cy="926846"/>
          </a:xfrm>
          <a:prstGeom prst="rect">
            <a:avLst/>
          </a:prstGeom>
        </p:spPr>
      </p:pic>
    </p:spTree>
    <p:extLst>
      <p:ext uri="{BB962C8B-B14F-4D97-AF65-F5344CB8AC3E}">
        <p14:creationId xmlns:p14="http://schemas.microsoft.com/office/powerpoint/2010/main" val="802590728"/>
      </p:ext>
    </p:extLst>
  </p:cSld>
  <p:clrMapOvr>
    <a:masterClrMapping/>
  </p:clrMapOvr>
  <p:transition>
    <p:fade/>
  </p:transition>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Bullets">
    <p:spTree>
      <p:nvGrpSpPr>
        <p:cNvPr id="1" name=""/>
        <p:cNvGrpSpPr/>
        <p:nvPr/>
      </p:nvGrpSpPr>
      <p:grpSpPr>
        <a:xfrm>
          <a:off x="0" y="0"/>
          <a:ext cx="0" cy="0"/>
          <a:chOff x="0" y="0"/>
          <a:chExt cx="0" cy="0"/>
        </a:xfrm>
      </p:grpSpPr>
      <p:sp>
        <p:nvSpPr>
          <p:cNvPr id="2" name="Title 1"/>
          <p:cNvSpPr>
            <a:spLocks noGrp="1"/>
          </p:cNvSpPr>
          <p:nvPr>
            <p:ph type="title"/>
          </p:nvPr>
        </p:nvSpPr>
        <p:spPr>
          <a:xfrm>
            <a:off x="914400" y="534390"/>
            <a:ext cx="12801600" cy="119281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buClr>
                <a:schemeClr val="accent1"/>
              </a:buClr>
              <a:defRPr>
                <a:solidFill>
                  <a:srgbClr val="000000"/>
                </a:solidFill>
              </a:defRPr>
            </a:lvl1pPr>
            <a:lvl2pPr>
              <a:buClr>
                <a:schemeClr val="accent1"/>
              </a:buClr>
              <a:defRPr>
                <a:solidFill>
                  <a:srgbClr val="000000"/>
                </a:solidFill>
              </a:defRPr>
            </a:lvl2pPr>
            <a:lvl3pPr>
              <a:buClr>
                <a:schemeClr val="accent1"/>
              </a:buClr>
              <a:defRPr>
                <a:solidFill>
                  <a:srgbClr val="000000"/>
                </a:solidFill>
              </a:defRPr>
            </a:lvl3pPr>
            <a:lvl4pPr>
              <a:buClr>
                <a:schemeClr val="accent1"/>
              </a:buClr>
              <a:defRPr>
                <a:solidFill>
                  <a:srgbClr val="000000"/>
                </a:solidFill>
              </a:defRPr>
            </a:lvl4pPr>
            <a:lvl5pPr>
              <a:buClr>
                <a:schemeClr val="accent1"/>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972082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Content-Bullets">
    <p:spTree>
      <p:nvGrpSpPr>
        <p:cNvPr id="1" name=""/>
        <p:cNvGrpSpPr/>
        <p:nvPr/>
      </p:nvGrpSpPr>
      <p:grpSpPr>
        <a:xfrm>
          <a:off x="0" y="0"/>
          <a:ext cx="0" cy="0"/>
          <a:chOff x="0" y="0"/>
          <a:chExt cx="0" cy="0"/>
        </a:xfrm>
      </p:grpSpPr>
      <p:sp>
        <p:nvSpPr>
          <p:cNvPr id="2" name="Title 1"/>
          <p:cNvSpPr>
            <a:spLocks noGrp="1"/>
          </p:cNvSpPr>
          <p:nvPr>
            <p:ph type="title"/>
          </p:nvPr>
        </p:nvSpPr>
        <p:spPr>
          <a:xfrm>
            <a:off x="914400" y="534390"/>
            <a:ext cx="12801600" cy="119281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22956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2 Column">
    <p:spTree>
      <p:nvGrpSpPr>
        <p:cNvPr id="1" name=""/>
        <p:cNvGrpSpPr/>
        <p:nvPr/>
      </p:nvGrpSpPr>
      <p:grpSpPr>
        <a:xfrm>
          <a:off x="0" y="0"/>
          <a:ext cx="0" cy="0"/>
          <a:chOff x="0" y="0"/>
          <a:chExt cx="0" cy="0"/>
        </a:xfrm>
      </p:grpSpPr>
      <p:sp>
        <p:nvSpPr>
          <p:cNvPr id="2" name="Title 1"/>
          <p:cNvSpPr>
            <a:spLocks noGrp="1"/>
          </p:cNvSpPr>
          <p:nvPr>
            <p:ph type="title"/>
          </p:nvPr>
        </p:nvSpPr>
        <p:spPr>
          <a:xfrm>
            <a:off x="914400" y="534390"/>
            <a:ext cx="12801600" cy="1192810"/>
          </a:xfrm>
        </p:spPr>
        <p:txBody>
          <a:bodyPr/>
          <a:lstStyle/>
          <a:p>
            <a:r>
              <a:rPr lang="en-US"/>
              <a:t>Click to edit Master title style</a:t>
            </a:r>
          </a:p>
        </p:txBody>
      </p:sp>
      <p:sp>
        <p:nvSpPr>
          <p:cNvPr id="3" name="Content Placeholder 2"/>
          <p:cNvSpPr>
            <a:spLocks noGrp="1"/>
          </p:cNvSpPr>
          <p:nvPr>
            <p:ph idx="1"/>
          </p:nvPr>
        </p:nvSpPr>
        <p:spPr>
          <a:xfrm>
            <a:off x="914400" y="1828800"/>
            <a:ext cx="623620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7479792" y="1828800"/>
            <a:ext cx="623620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686900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3 Column">
    <p:spTree>
      <p:nvGrpSpPr>
        <p:cNvPr id="1" name=""/>
        <p:cNvGrpSpPr/>
        <p:nvPr/>
      </p:nvGrpSpPr>
      <p:grpSpPr>
        <a:xfrm>
          <a:off x="0" y="0"/>
          <a:ext cx="0" cy="0"/>
          <a:chOff x="0" y="0"/>
          <a:chExt cx="0" cy="0"/>
        </a:xfrm>
      </p:grpSpPr>
      <p:sp>
        <p:nvSpPr>
          <p:cNvPr id="2" name="Title 1"/>
          <p:cNvSpPr>
            <a:spLocks noGrp="1"/>
          </p:cNvSpPr>
          <p:nvPr>
            <p:ph type="title"/>
          </p:nvPr>
        </p:nvSpPr>
        <p:spPr>
          <a:xfrm>
            <a:off x="914400" y="534390"/>
            <a:ext cx="12801600" cy="1192810"/>
          </a:xfrm>
        </p:spPr>
        <p:txBody>
          <a:bodyPr/>
          <a:lstStyle/>
          <a:p>
            <a:r>
              <a:rPr lang="en-US"/>
              <a:t>Click to edit Master title style</a:t>
            </a:r>
          </a:p>
        </p:txBody>
      </p:sp>
      <p:sp>
        <p:nvSpPr>
          <p:cNvPr id="3" name="Content Placeholder 2"/>
          <p:cNvSpPr>
            <a:spLocks noGrp="1"/>
          </p:cNvSpPr>
          <p:nvPr>
            <p:ph idx="1"/>
          </p:nvPr>
        </p:nvSpPr>
        <p:spPr>
          <a:xfrm>
            <a:off x="914402" y="1828800"/>
            <a:ext cx="41402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5251450" y="1828800"/>
            <a:ext cx="41402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9588501" y="1828800"/>
            <a:ext cx="414209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05070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3"/>
            <a:ext cx="13182936" cy="5003293"/>
          </a:xfrm>
        </p:spPr>
        <p:txBody>
          <a:bodyPr/>
          <a:lstStyle>
            <a:lvl1pPr marL="0" marR="0" indent="0" algn="ctr" defTabSz="1097280" rtl="0" eaLnBrk="1" fontAlgn="base" latinLnBrk="0" hangingPunct="1">
              <a:lnSpc>
                <a:spcPct val="100000"/>
              </a:lnSpc>
              <a:spcBef>
                <a:spcPct val="0"/>
              </a:spcBef>
              <a:spcAft>
                <a:spcPct val="0"/>
              </a:spcAft>
              <a:buClrTx/>
              <a:buSzTx/>
              <a:buFontTx/>
              <a:buNone/>
              <a:tabLst/>
              <a:defRPr sz="2400"/>
            </a:lvl1pPr>
          </a:lstStyle>
          <a:p>
            <a:pPr marL="0" marR="0" lvl="0"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2573A9F3-94BF-6B41-8903-C602E3EBAE62}"/>
              </a:ext>
            </a:extLst>
          </p:cNvPr>
          <p:cNvPicPr>
            <a:picLocks noChangeAspect="1"/>
          </p:cNvPicPr>
          <p:nvPr userDrawn="1"/>
        </p:nvPicPr>
        <p:blipFill>
          <a:blip r:embed="rId2"/>
          <a:stretch>
            <a:fillRect/>
          </a:stretch>
        </p:blipFill>
        <p:spPr>
          <a:xfrm>
            <a:off x="12070992" y="7653649"/>
            <a:ext cx="1729048" cy="339159"/>
          </a:xfrm>
          <a:prstGeom prst="rect">
            <a:avLst/>
          </a:prstGeom>
        </p:spPr>
      </p:pic>
    </p:spTree>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_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09658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p:nvPr>
        </p:nvSpPr>
        <p:spPr>
          <a:xfrm>
            <a:off x="674690" y="1155450"/>
            <a:ext cx="13274675" cy="373063"/>
          </a:xfrm>
        </p:spPr>
        <p:txBody>
          <a:bodyPr/>
          <a:lstStyle>
            <a:lvl1pPr marL="0" indent="0">
              <a:buFontTx/>
              <a:buNone/>
              <a:defRPr sz="3000">
                <a:solidFill>
                  <a:schemeClr val="accent3"/>
                </a:solidFill>
              </a:defRPr>
            </a:lvl1pPr>
            <a:lvl2pPr>
              <a:defRPr sz="3000">
                <a:solidFill>
                  <a:schemeClr val="accent3"/>
                </a:solidFill>
              </a:defRPr>
            </a:lvl2pPr>
            <a:lvl3pPr>
              <a:defRPr sz="3000">
                <a:solidFill>
                  <a:schemeClr val="accent3"/>
                </a:solidFill>
              </a:defRPr>
            </a:lvl3pPr>
            <a:lvl4pPr>
              <a:defRPr sz="3000">
                <a:solidFill>
                  <a:schemeClr val="accent3"/>
                </a:solidFill>
              </a:defRPr>
            </a:lvl4pPr>
            <a:lvl5pPr>
              <a:defRPr sz="3000">
                <a:solidFill>
                  <a:schemeClr val="accent3"/>
                </a:solidFill>
              </a:defRPr>
            </a:lvl5pPr>
          </a:lstStyle>
          <a:p>
            <a:pPr lvl="0"/>
            <a:r>
              <a:rPr lang="en-US"/>
              <a:t>Click to edit Master text style</a:t>
            </a:r>
          </a:p>
        </p:txBody>
      </p:sp>
    </p:spTree>
    <p:extLst>
      <p:ext uri="{BB962C8B-B14F-4D97-AF65-F5344CB8AC3E}">
        <p14:creationId xmlns:p14="http://schemas.microsoft.com/office/powerpoint/2010/main" val="41136470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ub,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4"/>
          <p:cNvSpPr>
            <a:spLocks noGrp="1"/>
          </p:cNvSpPr>
          <p:nvPr>
            <p:ph type="body" sz="quarter" idx="10"/>
          </p:nvPr>
        </p:nvSpPr>
        <p:spPr>
          <a:xfrm>
            <a:off x="726441" y="1041671"/>
            <a:ext cx="1317752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4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Click to edit Master text styles</a:t>
            </a:r>
          </a:p>
        </p:txBody>
      </p:sp>
      <p:sp>
        <p:nvSpPr>
          <p:cNvPr id="10" name="Text Placeholder 9"/>
          <p:cNvSpPr>
            <a:spLocks noGrp="1"/>
          </p:cNvSpPr>
          <p:nvPr>
            <p:ph type="body" sz="quarter" idx="11"/>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3903962" y="7629525"/>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2" name="Text Placeholder 19"/>
          <p:cNvSpPr>
            <a:spLocks noGrp="1"/>
          </p:cNvSpPr>
          <p:nvPr>
            <p:ph type="body" sz="quarter" idx="16" hasCustomPrompt="1"/>
          </p:nvPr>
        </p:nvSpPr>
        <p:spPr>
          <a:xfrm>
            <a:off x="721361" y="7312343"/>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3" name="Text Placeholder 19"/>
          <p:cNvSpPr>
            <a:spLocks noGrp="1"/>
          </p:cNvSpPr>
          <p:nvPr>
            <p:ph type="body" sz="quarter" idx="17" hasCustomPrompt="1"/>
          </p:nvPr>
        </p:nvSpPr>
        <p:spPr>
          <a:xfrm>
            <a:off x="8966200" y="7627621"/>
            <a:ext cx="4937764" cy="401952"/>
          </a:xfrm>
        </p:spPr>
        <p:txBody>
          <a:bodyPr anchor="ctr"/>
          <a:lstStyle>
            <a:lvl1pPr marL="0" indent="0" algn="r">
              <a:buNone/>
              <a:defRPr sz="1200" b="1"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OPTIONAL FUNCTION NAME</a:t>
            </a:r>
          </a:p>
        </p:txBody>
      </p:sp>
    </p:spTree>
    <p:extLst>
      <p:ext uri="{BB962C8B-B14F-4D97-AF65-F5344CB8AC3E}">
        <p14:creationId xmlns:p14="http://schemas.microsoft.com/office/powerpoint/2010/main" val="61986707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8" name="Right Triangle 27"/>
          <p:cNvSpPr/>
          <p:nvPr userDrawn="1"/>
        </p:nvSpPr>
        <p:spPr bwMode="auto">
          <a:xfrm rot="5400000">
            <a:off x="66502" y="-66502"/>
            <a:ext cx="5087389" cy="5220394"/>
          </a:xfrm>
          <a:prstGeom prst="rtTriangl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9" name="Right Triangle 28"/>
          <p:cNvSpPr/>
          <p:nvPr userDrawn="1"/>
        </p:nvSpPr>
        <p:spPr bwMode="auto">
          <a:xfrm rot="16200000">
            <a:off x="9509761" y="3075709"/>
            <a:ext cx="5087389" cy="5220394"/>
          </a:xfrm>
          <a:prstGeom prst="rtTriangl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endParaRPr>
          </a:p>
        </p:txBody>
      </p:sp>
      <p:pic>
        <p:nvPicPr>
          <p:cNvPr id="3" name="Picture 2"/>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14630400" cy="8229600"/>
          </a:xfrm>
          <a:prstGeom prst="rect">
            <a:avLst/>
          </a:prstGeom>
          <a:noFill/>
          <a:ln>
            <a:noFill/>
          </a:ln>
        </p:spPr>
      </p:pic>
      <p:sp>
        <p:nvSpPr>
          <p:cNvPr id="2" name="Title 1"/>
          <p:cNvSpPr>
            <a:spLocks noGrp="1"/>
          </p:cNvSpPr>
          <p:nvPr>
            <p:ph type="title"/>
          </p:nvPr>
        </p:nvSpPr>
        <p:spPr/>
        <p:txBody>
          <a:bodyPr/>
          <a:lstStyle/>
          <a:p>
            <a:r>
              <a:rPr lang="en-US"/>
              <a:t>Click to edit Master title style</a:t>
            </a:r>
          </a:p>
        </p:txBody>
      </p:sp>
      <p:sp>
        <p:nvSpPr>
          <p:cNvPr id="15" name="Picture Placeholder 14"/>
          <p:cNvSpPr>
            <a:spLocks noGrp="1"/>
          </p:cNvSpPr>
          <p:nvPr>
            <p:ph type="pic" sz="quarter" idx="10"/>
          </p:nvPr>
        </p:nvSpPr>
        <p:spPr>
          <a:xfrm>
            <a:off x="3591676" y="-16047"/>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16" name="Picture Placeholder 14"/>
          <p:cNvSpPr>
            <a:spLocks noGrp="1"/>
          </p:cNvSpPr>
          <p:nvPr>
            <p:ph type="pic" sz="quarter" idx="11"/>
          </p:nvPr>
        </p:nvSpPr>
        <p:spPr>
          <a:xfrm>
            <a:off x="7698163" y="-16047"/>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17" name="Picture Placeholder 14"/>
          <p:cNvSpPr>
            <a:spLocks noGrp="1"/>
          </p:cNvSpPr>
          <p:nvPr>
            <p:ph type="pic" sz="quarter" idx="12"/>
          </p:nvPr>
        </p:nvSpPr>
        <p:spPr>
          <a:xfrm>
            <a:off x="11804650" y="-16047"/>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18" name="Picture Placeholder 14"/>
          <p:cNvSpPr>
            <a:spLocks noGrp="1"/>
          </p:cNvSpPr>
          <p:nvPr>
            <p:ph type="pic" sz="quarter" idx="13"/>
          </p:nvPr>
        </p:nvSpPr>
        <p:spPr>
          <a:xfrm>
            <a:off x="1546745" y="201225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19" name="Picture Placeholder 14"/>
          <p:cNvSpPr>
            <a:spLocks noGrp="1"/>
          </p:cNvSpPr>
          <p:nvPr>
            <p:ph type="pic" sz="quarter" idx="14"/>
          </p:nvPr>
        </p:nvSpPr>
        <p:spPr>
          <a:xfrm>
            <a:off x="5653232" y="201225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0" name="Picture Placeholder 14"/>
          <p:cNvSpPr>
            <a:spLocks noGrp="1"/>
          </p:cNvSpPr>
          <p:nvPr>
            <p:ph type="pic" sz="quarter" idx="15"/>
          </p:nvPr>
        </p:nvSpPr>
        <p:spPr>
          <a:xfrm>
            <a:off x="9759718" y="201225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1" name="Picture Placeholder 14"/>
          <p:cNvSpPr>
            <a:spLocks noGrp="1"/>
          </p:cNvSpPr>
          <p:nvPr>
            <p:ph type="pic" sz="quarter" idx="16"/>
          </p:nvPr>
        </p:nvSpPr>
        <p:spPr>
          <a:xfrm>
            <a:off x="-514810" y="402393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2" name="Picture Placeholder 14"/>
          <p:cNvSpPr>
            <a:spLocks noGrp="1"/>
          </p:cNvSpPr>
          <p:nvPr>
            <p:ph type="pic" sz="quarter" idx="17"/>
          </p:nvPr>
        </p:nvSpPr>
        <p:spPr>
          <a:xfrm>
            <a:off x="3591676" y="402393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3" name="Picture Placeholder 14"/>
          <p:cNvSpPr>
            <a:spLocks noGrp="1"/>
          </p:cNvSpPr>
          <p:nvPr>
            <p:ph type="pic" sz="quarter" idx="18"/>
          </p:nvPr>
        </p:nvSpPr>
        <p:spPr>
          <a:xfrm>
            <a:off x="7698163" y="402393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4" name="Picture Placeholder 14"/>
          <p:cNvSpPr>
            <a:spLocks noGrp="1"/>
          </p:cNvSpPr>
          <p:nvPr>
            <p:ph type="pic" sz="quarter" idx="19"/>
          </p:nvPr>
        </p:nvSpPr>
        <p:spPr>
          <a:xfrm>
            <a:off x="1546745" y="603561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5" name="Picture Placeholder 14"/>
          <p:cNvSpPr>
            <a:spLocks noGrp="1"/>
          </p:cNvSpPr>
          <p:nvPr>
            <p:ph type="pic" sz="quarter" idx="20"/>
          </p:nvPr>
        </p:nvSpPr>
        <p:spPr>
          <a:xfrm>
            <a:off x="5653232" y="6035619"/>
            <a:ext cx="3790026" cy="3790026"/>
          </a:xfrm>
          <a:prstGeom prst="diamond">
            <a:avLst/>
          </a:prstGeom>
          <a:solidFill>
            <a:schemeClr val="bg1">
              <a:lumMod val="95000"/>
            </a:schemeClr>
          </a:solidFill>
          <a:ln>
            <a:noFill/>
          </a:ln>
        </p:spPr>
        <p:style>
          <a:lnRef idx="2">
            <a:schemeClr val="accent1"/>
          </a:lnRef>
          <a:fillRef idx="1">
            <a:schemeClr val="lt1"/>
          </a:fillRef>
          <a:effectRef idx="0">
            <a:schemeClr val="accent1"/>
          </a:effectRef>
          <a:fontRef idx="none"/>
        </p:style>
        <p:txBody>
          <a:bodyPr/>
          <a:lstStyle/>
          <a:p>
            <a:endParaRPr lang="en-US" dirty="0"/>
          </a:p>
        </p:txBody>
      </p:sp>
      <p:sp>
        <p:nvSpPr>
          <p:cNvPr id="26" name="Picture Placeholder 14"/>
          <p:cNvSpPr>
            <a:spLocks noGrp="1"/>
          </p:cNvSpPr>
          <p:nvPr>
            <p:ph type="pic" sz="quarter" idx="21"/>
          </p:nvPr>
        </p:nvSpPr>
        <p:spPr>
          <a:xfrm>
            <a:off x="5653233" y="-2011101"/>
            <a:ext cx="3790026" cy="3790026"/>
          </a:xfrm>
          <a:prstGeom prst="diamond">
            <a:avLst/>
          </a:prstGeom>
          <a:solidFill>
            <a:schemeClr val="bg1">
              <a:lumMod val="95000"/>
            </a:schemeClr>
          </a:solidFill>
          <a:ln>
            <a:noFill/>
          </a:ln>
        </p:spPr>
        <p:style>
          <a:lnRef idx="2">
            <a:schemeClr val="dk1">
              <a:shade val="50000"/>
            </a:schemeClr>
          </a:lnRef>
          <a:fillRef idx="1">
            <a:schemeClr val="dk1"/>
          </a:fillRef>
          <a:effectRef idx="0">
            <a:schemeClr val="dk1"/>
          </a:effectRef>
          <a:fontRef idx="none"/>
        </p:style>
        <p:txBody>
          <a:bodyPr/>
          <a:lstStyle/>
          <a:p>
            <a:endParaRPr lang="en-US" dirty="0"/>
          </a:p>
        </p:txBody>
      </p:sp>
      <p:sp>
        <p:nvSpPr>
          <p:cNvPr id="27" name="Picture Placeholder 14"/>
          <p:cNvSpPr>
            <a:spLocks noGrp="1"/>
          </p:cNvSpPr>
          <p:nvPr>
            <p:ph type="pic" sz="quarter" idx="22"/>
          </p:nvPr>
        </p:nvSpPr>
        <p:spPr>
          <a:xfrm>
            <a:off x="9759718" y="-2011101"/>
            <a:ext cx="3790026" cy="3790026"/>
          </a:xfrm>
          <a:prstGeom prst="diamond">
            <a:avLst/>
          </a:prstGeom>
          <a:solidFill>
            <a:schemeClr val="bg1">
              <a:lumMod val="95000"/>
            </a:schemeClr>
          </a:solidFill>
          <a:ln>
            <a:noFill/>
          </a:ln>
        </p:spPr>
        <p:style>
          <a:lnRef idx="2">
            <a:schemeClr val="dk1">
              <a:shade val="50000"/>
            </a:schemeClr>
          </a:lnRef>
          <a:fillRef idx="1">
            <a:schemeClr val="dk1"/>
          </a:fillRef>
          <a:effectRef idx="0">
            <a:schemeClr val="dk1"/>
          </a:effectRef>
          <a:fontRef idx="none"/>
        </p:style>
        <p:txBody>
          <a:bodyPr/>
          <a:lstStyle/>
          <a:p>
            <a:endParaRPr lang="en-US" dirty="0"/>
          </a:p>
        </p:txBody>
      </p:sp>
    </p:spTree>
    <p:extLst>
      <p:ext uri="{BB962C8B-B14F-4D97-AF65-F5344CB8AC3E}">
        <p14:creationId xmlns:p14="http://schemas.microsoft.com/office/powerpoint/2010/main" val="52929157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13258800" cy="590931"/>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81860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13258800" cy="590931"/>
          </a:xfrm>
          <a:prstGeom prst="rect">
            <a:avLst/>
          </a:prstGeom>
        </p:spPr>
        <p:txBody>
          <a:bodyPr/>
          <a:lstStyle/>
          <a:p>
            <a:r>
              <a:rPr lang="en-US"/>
              <a:t>Click to edit Master title style</a:t>
            </a:r>
          </a:p>
        </p:txBody>
      </p:sp>
      <p:sp>
        <p:nvSpPr>
          <p:cNvPr id="4" name="Content Placeholder 2"/>
          <p:cNvSpPr>
            <a:spLocks noGrp="1"/>
          </p:cNvSpPr>
          <p:nvPr>
            <p:ph idx="1"/>
          </p:nvPr>
        </p:nvSpPr>
        <p:spPr>
          <a:xfrm>
            <a:off x="685800" y="1828800"/>
            <a:ext cx="13258800" cy="5486400"/>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12024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13258800" cy="5909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85804" y="1828800"/>
            <a:ext cx="6519672"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7434076" y="1828800"/>
            <a:ext cx="6519672"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76744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13258800" cy="5909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858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idx="11"/>
          </p:nvPr>
        </p:nvSpPr>
        <p:spPr>
          <a:xfrm>
            <a:off x="51816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2"/>
          </p:nvPr>
        </p:nvSpPr>
        <p:spPr>
          <a:xfrm>
            <a:off x="96774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59259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59341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custDataLst>
              <p:tags r:id="rId1"/>
            </p:custDataLst>
          </p:nvPr>
        </p:nvSpPr>
        <p:spPr bwMode="auto">
          <a:xfrm>
            <a:off x="731520" y="187886"/>
            <a:ext cx="13578154" cy="590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a:t>Click to edit Master title style</a:t>
            </a:r>
          </a:p>
        </p:txBody>
      </p:sp>
    </p:spTree>
    <p:extLst>
      <p:ext uri="{BB962C8B-B14F-4D97-AF65-F5344CB8AC3E}">
        <p14:creationId xmlns:p14="http://schemas.microsoft.com/office/powerpoint/2010/main" val="4112621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3"/>
            <a:ext cx="13182936" cy="5003293"/>
          </a:xfrm>
        </p:spPr>
        <p:txBody>
          <a:bodyPr/>
          <a:lstStyle>
            <a:lvl1pPr marL="0" marR="0" indent="0" algn="ctr" defTabSz="1097280" rtl="0" eaLnBrk="1" fontAlgn="base" latinLnBrk="0" hangingPunct="1">
              <a:lnSpc>
                <a:spcPct val="100000"/>
              </a:lnSpc>
              <a:spcBef>
                <a:spcPct val="0"/>
              </a:spcBef>
              <a:spcAft>
                <a:spcPct val="0"/>
              </a:spcAft>
              <a:buClrTx/>
              <a:buSzTx/>
              <a:buFontTx/>
              <a:buNone/>
              <a:tabLst/>
              <a:defRPr sz="2400"/>
            </a:lvl1pPr>
          </a:lstStyle>
          <a:p>
            <a:pPr marL="0" marR="0" lvl="0"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8C943351-4D1C-B84E-AFF6-E461D04C3E37}"/>
              </a:ext>
            </a:extLst>
          </p:cNvPr>
          <p:cNvPicPr>
            <a:picLocks noChangeAspect="1"/>
          </p:cNvPicPr>
          <p:nvPr userDrawn="1"/>
        </p:nvPicPr>
        <p:blipFill>
          <a:blip r:embed="rId2"/>
          <a:stretch>
            <a:fillRect/>
          </a:stretch>
        </p:blipFill>
        <p:spPr>
          <a:xfrm>
            <a:off x="12070992" y="7653649"/>
            <a:ext cx="1729048" cy="339159"/>
          </a:xfrm>
          <a:prstGeom prst="rect">
            <a:avLst/>
          </a:prstGeom>
        </p:spPr>
      </p:pic>
    </p:spTree>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8451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685800" y="1828800"/>
            <a:ext cx="13258800" cy="5486400"/>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82135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4" y="1828800"/>
            <a:ext cx="6519672"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7434076" y="1828800"/>
            <a:ext cx="6519672"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6784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idx="11"/>
          </p:nvPr>
        </p:nvSpPr>
        <p:spPr>
          <a:xfrm>
            <a:off x="51816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2"/>
          </p:nvPr>
        </p:nvSpPr>
        <p:spPr>
          <a:xfrm>
            <a:off x="9677404" y="1828800"/>
            <a:ext cx="427024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73023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8325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1"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899931268"/>
      </p:ext>
    </p:extLst>
  </p:cSld>
  <p:clrMapOvr>
    <a:masterClrMapping/>
  </p:clrMapOvr>
  <p:transition>
    <p:fade/>
  </p:transition>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2"/>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2833804"/>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5169332"/>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F26A83DB-15DE-5F4B-B02D-DC4E407EC08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537728"/>
            <a:ext cx="3794119" cy="694460"/>
          </a:xfrm>
          <a:prstGeom prst="rect">
            <a:avLst/>
          </a:prstGeom>
        </p:spPr>
      </p:pic>
    </p:spTree>
    <p:extLst>
      <p:ext uri="{BB962C8B-B14F-4D97-AF65-F5344CB8AC3E}">
        <p14:creationId xmlns:p14="http://schemas.microsoft.com/office/powerpoint/2010/main" val="2696840012"/>
      </p:ext>
    </p:extLst>
  </p:cSld>
  <p:clrMapOvr>
    <a:masterClrMapping/>
  </p:clrMapOvr>
  <p:transition>
    <p:fade/>
  </p:transition>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presentation title 3">
    <p:spTree>
      <p:nvGrpSpPr>
        <p:cNvPr id="1" name=""/>
        <p:cNvGrpSpPr/>
        <p:nvPr/>
      </p:nvGrpSpPr>
      <p:grpSpPr>
        <a:xfrm>
          <a:off x="0" y="0"/>
          <a:ext cx="0" cy="0"/>
          <a:chOff x="0" y="0"/>
          <a:chExt cx="0" cy="0"/>
        </a:xfrm>
      </p:grpSpPr>
      <p:sp>
        <p:nvSpPr>
          <p:cNvPr id="3" name="Rectangle 2"/>
          <p:cNvSpPr/>
          <p:nvPr userDrawn="1"/>
        </p:nvSpPr>
        <p:spPr bwMode="auto">
          <a:xfrm>
            <a:off x="0" y="6588974"/>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843655"/>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3657402"/>
            <a:ext cx="10291330" cy="91479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7BC504DF-781C-A242-8C76-46037FCB35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1488993768"/>
      </p:ext>
    </p:extLst>
  </p:cSld>
  <p:clrMapOvr>
    <a:masterClrMapping/>
  </p:clrMapOvr>
  <p:transition>
    <p:fade/>
  </p:transition>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4133035362"/>
      </p:ext>
    </p:extLst>
  </p:cSld>
  <p:clrMapOvr>
    <a:masterClrMapping/>
  </p:clrMapOvr>
  <p:transition>
    <p:fade/>
  </p:transition>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2"/>
            <a:ext cx="9137088"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430564652"/>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tle, sub, multi image">
    <p:bg>
      <p:bgPr>
        <a:solidFill>
          <a:schemeClr val="bg1"/>
        </a:solidFill>
        <a:effectLst/>
      </p:bgPr>
    </p:bg>
    <p:spTree>
      <p:nvGrpSpPr>
        <p:cNvPr id="1" name=""/>
        <p:cNvGrpSpPr/>
        <p:nvPr/>
      </p:nvGrpSpPr>
      <p:grpSpPr>
        <a:xfrm>
          <a:off x="0" y="0"/>
          <a:ext cx="0" cy="0"/>
          <a:chOff x="0" y="0"/>
          <a:chExt cx="0" cy="0"/>
        </a:xfrm>
      </p:grpSpPr>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
        <p:nvSpPr>
          <p:cNvPr id="23" name="Picture Placeholder 3">
            <a:extLst>
              <a:ext uri="{FF2B5EF4-FFF2-40B4-BE49-F238E27FC236}">
                <a16:creationId xmlns:a16="http://schemas.microsoft.com/office/drawing/2014/main" id="{FE862BD8-3F1C-604A-8A05-69334A1195EA}"/>
              </a:ext>
            </a:extLst>
          </p:cNvPr>
          <p:cNvSpPr>
            <a:spLocks noGrp="1"/>
          </p:cNvSpPr>
          <p:nvPr>
            <p:ph type="pic" sz="quarter" idx="18"/>
          </p:nvPr>
        </p:nvSpPr>
        <p:spPr>
          <a:xfrm>
            <a:off x="720725" y="2337854"/>
            <a:ext cx="3137121" cy="2110753"/>
          </a:xfrm>
        </p:spPr>
        <p:txBody>
          <a:bodyPr/>
          <a:lstStyle/>
          <a:p>
            <a:endParaRPr lang="en-US" dirty="0"/>
          </a:p>
        </p:txBody>
      </p:sp>
      <p:sp>
        <p:nvSpPr>
          <p:cNvPr id="24" name="Picture Placeholder 3">
            <a:extLst>
              <a:ext uri="{FF2B5EF4-FFF2-40B4-BE49-F238E27FC236}">
                <a16:creationId xmlns:a16="http://schemas.microsoft.com/office/drawing/2014/main" id="{61F73758-8634-BF4C-AAE3-3308888FD84F}"/>
              </a:ext>
            </a:extLst>
          </p:cNvPr>
          <p:cNvSpPr>
            <a:spLocks noGrp="1"/>
          </p:cNvSpPr>
          <p:nvPr>
            <p:ph type="pic" sz="quarter" idx="19"/>
          </p:nvPr>
        </p:nvSpPr>
        <p:spPr>
          <a:xfrm>
            <a:off x="4062287" y="2334792"/>
            <a:ext cx="3137121" cy="2110753"/>
          </a:xfrm>
        </p:spPr>
        <p:txBody>
          <a:bodyPr/>
          <a:lstStyle/>
          <a:p>
            <a:endParaRPr lang="en-US" dirty="0"/>
          </a:p>
        </p:txBody>
      </p:sp>
      <p:sp>
        <p:nvSpPr>
          <p:cNvPr id="25" name="Picture Placeholder 3">
            <a:extLst>
              <a:ext uri="{FF2B5EF4-FFF2-40B4-BE49-F238E27FC236}">
                <a16:creationId xmlns:a16="http://schemas.microsoft.com/office/drawing/2014/main" id="{08CC4309-5DD8-1C47-B3CD-8166470D4059}"/>
              </a:ext>
            </a:extLst>
          </p:cNvPr>
          <p:cNvSpPr>
            <a:spLocks noGrp="1"/>
          </p:cNvSpPr>
          <p:nvPr>
            <p:ph type="pic" sz="quarter" idx="20"/>
          </p:nvPr>
        </p:nvSpPr>
        <p:spPr>
          <a:xfrm>
            <a:off x="7403849" y="2342448"/>
            <a:ext cx="3137121" cy="2110753"/>
          </a:xfrm>
        </p:spPr>
        <p:txBody>
          <a:bodyPr/>
          <a:lstStyle/>
          <a:p>
            <a:endParaRPr lang="en-US" dirty="0"/>
          </a:p>
        </p:txBody>
      </p:sp>
      <p:sp>
        <p:nvSpPr>
          <p:cNvPr id="26" name="Picture Placeholder 3">
            <a:extLst>
              <a:ext uri="{FF2B5EF4-FFF2-40B4-BE49-F238E27FC236}">
                <a16:creationId xmlns:a16="http://schemas.microsoft.com/office/drawing/2014/main" id="{C62BCD82-F855-3D4E-ABF6-A3A9F38ABB76}"/>
              </a:ext>
            </a:extLst>
          </p:cNvPr>
          <p:cNvSpPr>
            <a:spLocks noGrp="1"/>
          </p:cNvSpPr>
          <p:nvPr>
            <p:ph type="pic" sz="quarter" idx="21"/>
          </p:nvPr>
        </p:nvSpPr>
        <p:spPr>
          <a:xfrm>
            <a:off x="10745412" y="2353734"/>
            <a:ext cx="3137121" cy="2110753"/>
          </a:xfrm>
        </p:spPr>
        <p:txBody>
          <a:bodyPr/>
          <a:lstStyle/>
          <a:p>
            <a:endParaRPr lang="en-US" dirty="0"/>
          </a:p>
        </p:txBody>
      </p:sp>
      <p:sp>
        <p:nvSpPr>
          <p:cNvPr id="27" name="Picture Placeholder 3">
            <a:extLst>
              <a:ext uri="{FF2B5EF4-FFF2-40B4-BE49-F238E27FC236}">
                <a16:creationId xmlns:a16="http://schemas.microsoft.com/office/drawing/2014/main" id="{811C0FAF-F980-BE46-B15B-CB96D0EA330B}"/>
              </a:ext>
            </a:extLst>
          </p:cNvPr>
          <p:cNvSpPr>
            <a:spLocks noGrp="1"/>
          </p:cNvSpPr>
          <p:nvPr>
            <p:ph type="pic" sz="quarter" idx="22"/>
          </p:nvPr>
        </p:nvSpPr>
        <p:spPr>
          <a:xfrm>
            <a:off x="720725" y="4670237"/>
            <a:ext cx="3137121" cy="2110753"/>
          </a:xfrm>
        </p:spPr>
        <p:txBody>
          <a:bodyPr/>
          <a:lstStyle/>
          <a:p>
            <a:endParaRPr lang="en-US" dirty="0"/>
          </a:p>
        </p:txBody>
      </p:sp>
      <p:sp>
        <p:nvSpPr>
          <p:cNvPr id="28" name="Picture Placeholder 3">
            <a:extLst>
              <a:ext uri="{FF2B5EF4-FFF2-40B4-BE49-F238E27FC236}">
                <a16:creationId xmlns:a16="http://schemas.microsoft.com/office/drawing/2014/main" id="{B8565162-7ED6-E642-A009-7342765D75A6}"/>
              </a:ext>
            </a:extLst>
          </p:cNvPr>
          <p:cNvSpPr>
            <a:spLocks noGrp="1"/>
          </p:cNvSpPr>
          <p:nvPr>
            <p:ph type="pic" sz="quarter" idx="23"/>
          </p:nvPr>
        </p:nvSpPr>
        <p:spPr>
          <a:xfrm>
            <a:off x="4062287" y="4667175"/>
            <a:ext cx="3137121" cy="2110753"/>
          </a:xfrm>
        </p:spPr>
        <p:txBody>
          <a:bodyPr/>
          <a:lstStyle/>
          <a:p>
            <a:endParaRPr lang="en-US" dirty="0"/>
          </a:p>
        </p:txBody>
      </p:sp>
      <p:sp>
        <p:nvSpPr>
          <p:cNvPr id="29" name="Picture Placeholder 3">
            <a:extLst>
              <a:ext uri="{FF2B5EF4-FFF2-40B4-BE49-F238E27FC236}">
                <a16:creationId xmlns:a16="http://schemas.microsoft.com/office/drawing/2014/main" id="{153E5BF5-B7A2-1D46-95D7-2976989CC526}"/>
              </a:ext>
            </a:extLst>
          </p:cNvPr>
          <p:cNvSpPr>
            <a:spLocks noGrp="1"/>
          </p:cNvSpPr>
          <p:nvPr>
            <p:ph type="pic" sz="quarter" idx="24"/>
          </p:nvPr>
        </p:nvSpPr>
        <p:spPr>
          <a:xfrm>
            <a:off x="7403849" y="4674831"/>
            <a:ext cx="3137121" cy="2110753"/>
          </a:xfrm>
        </p:spPr>
        <p:txBody>
          <a:bodyPr/>
          <a:lstStyle/>
          <a:p>
            <a:endParaRPr lang="en-US" dirty="0"/>
          </a:p>
        </p:txBody>
      </p:sp>
      <p:sp>
        <p:nvSpPr>
          <p:cNvPr id="30" name="Picture Placeholder 3">
            <a:extLst>
              <a:ext uri="{FF2B5EF4-FFF2-40B4-BE49-F238E27FC236}">
                <a16:creationId xmlns:a16="http://schemas.microsoft.com/office/drawing/2014/main" id="{7BBC3411-5FF9-D847-BF6A-7429591D9CCC}"/>
              </a:ext>
            </a:extLst>
          </p:cNvPr>
          <p:cNvSpPr>
            <a:spLocks noGrp="1"/>
          </p:cNvSpPr>
          <p:nvPr>
            <p:ph type="pic" sz="quarter" idx="25"/>
          </p:nvPr>
        </p:nvSpPr>
        <p:spPr>
          <a:xfrm>
            <a:off x="10745412" y="4686117"/>
            <a:ext cx="3137121" cy="2110753"/>
          </a:xfrm>
        </p:spPr>
        <p:txBody>
          <a:bodyPr/>
          <a:lstStyle/>
          <a:p>
            <a:endParaRPr lang="en-US" dirty="0"/>
          </a:p>
        </p:txBody>
      </p:sp>
    </p:spTree>
    <p:extLst>
      <p:ext uri="{BB962C8B-B14F-4D97-AF65-F5344CB8AC3E}">
        <p14:creationId xmlns:p14="http://schemas.microsoft.com/office/powerpoint/2010/main" val="220389320"/>
      </p:ext>
    </p:extLst>
  </p:cSld>
  <p:clrMapOvr>
    <a:masterClrMapping/>
  </p:clrMapOvr>
  <p:transition>
    <p:fade/>
  </p:transition>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851307748"/>
      </p:ext>
    </p:extLst>
  </p:cSld>
  <p:clrMapOvr>
    <a:masterClrMapping/>
  </p:clrMapOvr>
  <p:transition>
    <p:fade/>
  </p:transition>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rgbClr val="C8102E"/>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30207253"/>
      </p:ext>
    </p:extLst>
  </p:cSld>
  <p:clrMapOvr>
    <a:masterClrMapping/>
  </p:clrMapOvr>
  <p:transition>
    <p:fade/>
  </p:transition>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181118320"/>
      </p:ext>
    </p:extLst>
  </p:cSld>
  <p:clrMapOvr>
    <a:masterClrMapping/>
  </p:clrMapOvr>
  <p:transition>
    <p:fade/>
  </p:transition>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613187136"/>
      </p:ext>
    </p:extLst>
  </p:cSld>
  <p:clrMapOvr>
    <a:masterClrMapping/>
  </p:clrMapOvr>
  <p:transition>
    <p:fade/>
  </p:transition>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583939646"/>
      </p:ext>
    </p:extLst>
  </p:cSld>
  <p:clrMapOvr>
    <a:masterClrMapping/>
  </p:clrMapOvr>
  <p:transition>
    <p:fade/>
  </p:transition>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639886524"/>
      </p:ext>
    </p:extLst>
  </p:cSld>
  <p:clrMapOvr>
    <a:masterClrMapping/>
  </p:clrMapOvr>
  <p:transition>
    <p:fade/>
  </p:transition>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4"/>
            <a:ext cx="13182936" cy="5003293"/>
          </a:xfrm>
        </p:spPr>
        <p:txBody>
          <a:bodyPr/>
          <a:lstStyle>
            <a:lvl1pPr marL="0" marR="0" indent="0" algn="ctr" defTabSz="1097236" rtl="0" eaLnBrk="1" fontAlgn="base" latinLnBrk="0" hangingPunct="1">
              <a:lnSpc>
                <a:spcPct val="100000"/>
              </a:lnSpc>
              <a:spcBef>
                <a:spcPct val="0"/>
              </a:spcBef>
              <a:spcAft>
                <a:spcPct val="0"/>
              </a:spcAft>
              <a:buClrTx/>
              <a:buSzTx/>
              <a:buFontTx/>
              <a:buNone/>
              <a:tabLst/>
              <a:defRPr sz="2400"/>
            </a:lvl1pPr>
          </a:lstStyle>
          <a:p>
            <a:pPr marL="0" marR="0" lvl="0"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2573A9F3-94BF-6B41-8903-C602E3EBAE62}"/>
              </a:ext>
            </a:extLst>
          </p:cNvPr>
          <p:cNvPicPr>
            <a:picLocks noChangeAspect="1"/>
          </p:cNvPicPr>
          <p:nvPr userDrawn="1"/>
        </p:nvPicPr>
        <p:blipFill>
          <a:blip r:embed="rId2"/>
          <a:stretch>
            <a:fillRect/>
          </a:stretch>
        </p:blipFill>
        <p:spPr>
          <a:xfrm>
            <a:off x="12070992" y="7653650"/>
            <a:ext cx="1729048" cy="339160"/>
          </a:xfrm>
          <a:prstGeom prst="rect">
            <a:avLst/>
          </a:prstGeom>
        </p:spPr>
      </p:pic>
    </p:spTree>
    <p:extLst>
      <p:ext uri="{BB962C8B-B14F-4D97-AF65-F5344CB8AC3E}">
        <p14:creationId xmlns:p14="http://schemas.microsoft.com/office/powerpoint/2010/main" val="2516923000"/>
      </p:ext>
    </p:extLst>
  </p:cSld>
  <p:clrMapOvr>
    <a:masterClrMapping/>
  </p:clrMapOvr>
  <p:transition>
    <p:fade/>
  </p:transition>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4"/>
            <a:ext cx="13182936" cy="5003293"/>
          </a:xfrm>
        </p:spPr>
        <p:txBody>
          <a:bodyPr/>
          <a:lstStyle>
            <a:lvl1pPr marL="0" marR="0" indent="0" algn="ctr" defTabSz="1097236" rtl="0" eaLnBrk="1" fontAlgn="base" latinLnBrk="0" hangingPunct="1">
              <a:lnSpc>
                <a:spcPct val="100000"/>
              </a:lnSpc>
              <a:spcBef>
                <a:spcPct val="0"/>
              </a:spcBef>
              <a:spcAft>
                <a:spcPct val="0"/>
              </a:spcAft>
              <a:buClrTx/>
              <a:buSzTx/>
              <a:buFontTx/>
              <a:buNone/>
              <a:tabLst/>
              <a:defRPr sz="2400"/>
            </a:lvl1pPr>
          </a:lstStyle>
          <a:p>
            <a:pPr marL="0" marR="0" lvl="0"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8C943351-4D1C-B84E-AFF6-E461D04C3E37}"/>
              </a:ext>
            </a:extLst>
          </p:cNvPr>
          <p:cNvPicPr>
            <a:picLocks noChangeAspect="1"/>
          </p:cNvPicPr>
          <p:nvPr userDrawn="1"/>
        </p:nvPicPr>
        <p:blipFill>
          <a:blip r:embed="rId2"/>
          <a:stretch>
            <a:fillRect/>
          </a:stretch>
        </p:blipFill>
        <p:spPr>
          <a:xfrm>
            <a:off x="12070992" y="7653650"/>
            <a:ext cx="1729048" cy="339160"/>
          </a:xfrm>
          <a:prstGeom prst="rect">
            <a:avLst/>
          </a:prstGeom>
        </p:spPr>
      </p:pic>
    </p:spTree>
    <p:extLst>
      <p:ext uri="{BB962C8B-B14F-4D97-AF65-F5344CB8AC3E}">
        <p14:creationId xmlns:p14="http://schemas.microsoft.com/office/powerpoint/2010/main" val="2538468352"/>
      </p:ext>
    </p:extLst>
  </p:cSld>
  <p:clrMapOvr>
    <a:masterClrMapping/>
  </p:clrMapOvr>
  <p:transition>
    <p:fade/>
  </p:transition>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tle, sub, multi image">
    <p:bg>
      <p:bgPr>
        <a:solidFill>
          <a:schemeClr val="bg1"/>
        </a:solidFill>
        <a:effectLst/>
      </p:bgPr>
    </p:bg>
    <p:spTree>
      <p:nvGrpSpPr>
        <p:cNvPr id="1" name=""/>
        <p:cNvGrpSpPr/>
        <p:nvPr/>
      </p:nvGrpSpPr>
      <p:grpSpPr>
        <a:xfrm>
          <a:off x="0" y="0"/>
          <a:ext cx="0" cy="0"/>
          <a:chOff x="0" y="0"/>
          <a:chExt cx="0" cy="0"/>
        </a:xfrm>
      </p:grpSpPr>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
        <p:nvSpPr>
          <p:cNvPr id="23" name="Picture Placeholder 3">
            <a:extLst>
              <a:ext uri="{FF2B5EF4-FFF2-40B4-BE49-F238E27FC236}">
                <a16:creationId xmlns:a16="http://schemas.microsoft.com/office/drawing/2014/main" id="{FE862BD8-3F1C-604A-8A05-69334A1195EA}"/>
              </a:ext>
            </a:extLst>
          </p:cNvPr>
          <p:cNvSpPr>
            <a:spLocks noGrp="1"/>
          </p:cNvSpPr>
          <p:nvPr>
            <p:ph type="pic" sz="quarter" idx="18"/>
          </p:nvPr>
        </p:nvSpPr>
        <p:spPr>
          <a:xfrm>
            <a:off x="720725" y="2337855"/>
            <a:ext cx="3137122" cy="2110753"/>
          </a:xfrm>
        </p:spPr>
        <p:txBody>
          <a:bodyPr/>
          <a:lstStyle/>
          <a:p>
            <a:endParaRPr lang="en-US" dirty="0"/>
          </a:p>
        </p:txBody>
      </p:sp>
      <p:sp>
        <p:nvSpPr>
          <p:cNvPr id="24" name="Picture Placeholder 3">
            <a:extLst>
              <a:ext uri="{FF2B5EF4-FFF2-40B4-BE49-F238E27FC236}">
                <a16:creationId xmlns:a16="http://schemas.microsoft.com/office/drawing/2014/main" id="{61F73758-8634-BF4C-AAE3-3308888FD84F}"/>
              </a:ext>
            </a:extLst>
          </p:cNvPr>
          <p:cNvSpPr>
            <a:spLocks noGrp="1"/>
          </p:cNvSpPr>
          <p:nvPr>
            <p:ph type="pic" sz="quarter" idx="19"/>
          </p:nvPr>
        </p:nvSpPr>
        <p:spPr>
          <a:xfrm>
            <a:off x="4062287" y="2334793"/>
            <a:ext cx="3137122" cy="2110753"/>
          </a:xfrm>
        </p:spPr>
        <p:txBody>
          <a:bodyPr/>
          <a:lstStyle/>
          <a:p>
            <a:endParaRPr lang="en-US" dirty="0"/>
          </a:p>
        </p:txBody>
      </p:sp>
      <p:sp>
        <p:nvSpPr>
          <p:cNvPr id="25" name="Picture Placeholder 3">
            <a:extLst>
              <a:ext uri="{FF2B5EF4-FFF2-40B4-BE49-F238E27FC236}">
                <a16:creationId xmlns:a16="http://schemas.microsoft.com/office/drawing/2014/main" id="{08CC4309-5DD8-1C47-B3CD-8166470D4059}"/>
              </a:ext>
            </a:extLst>
          </p:cNvPr>
          <p:cNvSpPr>
            <a:spLocks noGrp="1"/>
          </p:cNvSpPr>
          <p:nvPr>
            <p:ph type="pic" sz="quarter" idx="20"/>
          </p:nvPr>
        </p:nvSpPr>
        <p:spPr>
          <a:xfrm>
            <a:off x="7403849" y="2342449"/>
            <a:ext cx="3137122" cy="2110753"/>
          </a:xfrm>
        </p:spPr>
        <p:txBody>
          <a:bodyPr/>
          <a:lstStyle/>
          <a:p>
            <a:endParaRPr lang="en-US" dirty="0"/>
          </a:p>
        </p:txBody>
      </p:sp>
      <p:sp>
        <p:nvSpPr>
          <p:cNvPr id="26" name="Picture Placeholder 3">
            <a:extLst>
              <a:ext uri="{FF2B5EF4-FFF2-40B4-BE49-F238E27FC236}">
                <a16:creationId xmlns:a16="http://schemas.microsoft.com/office/drawing/2014/main" id="{C62BCD82-F855-3D4E-ABF6-A3A9F38ABB76}"/>
              </a:ext>
            </a:extLst>
          </p:cNvPr>
          <p:cNvSpPr>
            <a:spLocks noGrp="1"/>
          </p:cNvSpPr>
          <p:nvPr>
            <p:ph type="pic" sz="quarter" idx="21"/>
          </p:nvPr>
        </p:nvSpPr>
        <p:spPr>
          <a:xfrm>
            <a:off x="10745412" y="2353735"/>
            <a:ext cx="3137122" cy="2110753"/>
          </a:xfrm>
        </p:spPr>
        <p:txBody>
          <a:bodyPr/>
          <a:lstStyle/>
          <a:p>
            <a:endParaRPr lang="en-US" dirty="0"/>
          </a:p>
        </p:txBody>
      </p:sp>
      <p:sp>
        <p:nvSpPr>
          <p:cNvPr id="27" name="Picture Placeholder 3">
            <a:extLst>
              <a:ext uri="{FF2B5EF4-FFF2-40B4-BE49-F238E27FC236}">
                <a16:creationId xmlns:a16="http://schemas.microsoft.com/office/drawing/2014/main" id="{811C0FAF-F980-BE46-B15B-CB96D0EA330B}"/>
              </a:ext>
            </a:extLst>
          </p:cNvPr>
          <p:cNvSpPr>
            <a:spLocks noGrp="1"/>
          </p:cNvSpPr>
          <p:nvPr>
            <p:ph type="pic" sz="quarter" idx="22"/>
          </p:nvPr>
        </p:nvSpPr>
        <p:spPr>
          <a:xfrm>
            <a:off x="720725" y="4670239"/>
            <a:ext cx="3137122" cy="2110753"/>
          </a:xfrm>
        </p:spPr>
        <p:txBody>
          <a:bodyPr/>
          <a:lstStyle/>
          <a:p>
            <a:endParaRPr lang="en-US" dirty="0"/>
          </a:p>
        </p:txBody>
      </p:sp>
      <p:sp>
        <p:nvSpPr>
          <p:cNvPr id="28" name="Picture Placeholder 3">
            <a:extLst>
              <a:ext uri="{FF2B5EF4-FFF2-40B4-BE49-F238E27FC236}">
                <a16:creationId xmlns:a16="http://schemas.microsoft.com/office/drawing/2014/main" id="{B8565162-7ED6-E642-A009-7342765D75A6}"/>
              </a:ext>
            </a:extLst>
          </p:cNvPr>
          <p:cNvSpPr>
            <a:spLocks noGrp="1"/>
          </p:cNvSpPr>
          <p:nvPr>
            <p:ph type="pic" sz="quarter" idx="23"/>
          </p:nvPr>
        </p:nvSpPr>
        <p:spPr>
          <a:xfrm>
            <a:off x="4062287" y="4667176"/>
            <a:ext cx="3137122" cy="2110753"/>
          </a:xfrm>
        </p:spPr>
        <p:txBody>
          <a:bodyPr/>
          <a:lstStyle/>
          <a:p>
            <a:endParaRPr lang="en-US" dirty="0"/>
          </a:p>
        </p:txBody>
      </p:sp>
      <p:sp>
        <p:nvSpPr>
          <p:cNvPr id="29" name="Picture Placeholder 3">
            <a:extLst>
              <a:ext uri="{FF2B5EF4-FFF2-40B4-BE49-F238E27FC236}">
                <a16:creationId xmlns:a16="http://schemas.microsoft.com/office/drawing/2014/main" id="{153E5BF5-B7A2-1D46-95D7-2976989CC526}"/>
              </a:ext>
            </a:extLst>
          </p:cNvPr>
          <p:cNvSpPr>
            <a:spLocks noGrp="1"/>
          </p:cNvSpPr>
          <p:nvPr>
            <p:ph type="pic" sz="quarter" idx="24"/>
          </p:nvPr>
        </p:nvSpPr>
        <p:spPr>
          <a:xfrm>
            <a:off x="7403849" y="4674832"/>
            <a:ext cx="3137122" cy="2110753"/>
          </a:xfrm>
        </p:spPr>
        <p:txBody>
          <a:bodyPr/>
          <a:lstStyle/>
          <a:p>
            <a:endParaRPr lang="en-US" dirty="0"/>
          </a:p>
        </p:txBody>
      </p:sp>
      <p:sp>
        <p:nvSpPr>
          <p:cNvPr id="30" name="Picture Placeholder 3">
            <a:extLst>
              <a:ext uri="{FF2B5EF4-FFF2-40B4-BE49-F238E27FC236}">
                <a16:creationId xmlns:a16="http://schemas.microsoft.com/office/drawing/2014/main" id="{7BBC3411-5FF9-D847-BF6A-7429591D9CCC}"/>
              </a:ext>
            </a:extLst>
          </p:cNvPr>
          <p:cNvSpPr>
            <a:spLocks noGrp="1"/>
          </p:cNvSpPr>
          <p:nvPr>
            <p:ph type="pic" sz="quarter" idx="25"/>
          </p:nvPr>
        </p:nvSpPr>
        <p:spPr>
          <a:xfrm>
            <a:off x="10745412" y="4686118"/>
            <a:ext cx="3137122" cy="2110753"/>
          </a:xfrm>
        </p:spPr>
        <p:txBody>
          <a:bodyPr/>
          <a:lstStyle/>
          <a:p>
            <a:endParaRPr lang="en-US" dirty="0"/>
          </a:p>
        </p:txBody>
      </p:sp>
    </p:spTree>
    <p:extLst>
      <p:ext uri="{BB962C8B-B14F-4D97-AF65-F5344CB8AC3E}">
        <p14:creationId xmlns:p14="http://schemas.microsoft.com/office/powerpoint/2010/main" val="3856414386"/>
      </p:ext>
    </p:extLst>
  </p:cSld>
  <p:clrMapOvr>
    <a:masterClrMapping/>
  </p:clrMapOvr>
  <p:transition>
    <p:fade/>
  </p:transition>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sp>
        <p:nvSpPr>
          <p:cNvPr id="5" name="Text Placeholder 4"/>
          <p:cNvSpPr>
            <a:spLocks noGrp="1"/>
          </p:cNvSpPr>
          <p:nvPr>
            <p:ph type="body" sz="quarter" idx="10"/>
          </p:nvPr>
        </p:nvSpPr>
        <p:spPr>
          <a:xfrm>
            <a:off x="726441" y="2106614"/>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6" name="Text Placeholder 3">
            <a:extLst>
              <a:ext uri="{FF2B5EF4-FFF2-40B4-BE49-F238E27FC236}">
                <a16:creationId xmlns:a16="http://schemas.microsoft.com/office/drawing/2014/main" id="{9F517C4F-52C8-004C-AEB3-B965686EAAA9}"/>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669498627"/>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sp>
        <p:nvSpPr>
          <p:cNvPr id="5" name="Text Placeholder 4"/>
          <p:cNvSpPr>
            <a:spLocks noGrp="1"/>
          </p:cNvSpPr>
          <p:nvPr>
            <p:ph type="body" sz="quarter" idx="10"/>
          </p:nvPr>
        </p:nvSpPr>
        <p:spPr>
          <a:xfrm>
            <a:off x="726440" y="2106614"/>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6" name="Text Placeholder 3">
            <a:extLst>
              <a:ext uri="{FF2B5EF4-FFF2-40B4-BE49-F238E27FC236}">
                <a16:creationId xmlns:a16="http://schemas.microsoft.com/office/drawing/2014/main" id="{9F517C4F-52C8-004C-AEB3-B965686EAAA9}"/>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graphicFrame>
        <p:nvGraphicFramePr>
          <p:cNvPr id="33" name="Chart 32">
            <a:extLst>
              <a:ext uri="{FF2B5EF4-FFF2-40B4-BE49-F238E27FC236}">
                <a16:creationId xmlns:a16="http://schemas.microsoft.com/office/drawing/2014/main" id="{D025E7FA-298A-CD45-B1DA-D620F2482A58}"/>
              </a:ext>
            </a:extLst>
          </p:cNvPr>
          <p:cNvGraphicFramePr/>
          <p:nvPr userDrawn="1">
            <p:extLst>
              <p:ext uri="{D42A27DB-BD31-4B8C-83A1-F6EECF244321}">
                <p14:modId xmlns:p14="http://schemas.microsoft.com/office/powerpoint/2010/main" val="2252200674"/>
              </p:ext>
            </p:extLst>
          </p:nvPr>
        </p:nvGraphicFramePr>
        <p:xfrm>
          <a:off x="15557874" y="4888978"/>
          <a:ext cx="3678955" cy="1989156"/>
        </p:xfrm>
        <a:graphic>
          <a:graphicData uri="http://schemas.openxmlformats.org/drawingml/2006/chart">
            <c:chart xmlns:c="http://schemas.openxmlformats.org/drawingml/2006/chart" xmlns:r="http://schemas.openxmlformats.org/officeDocument/2006/relationships" r:id="rId2"/>
          </a:graphicData>
        </a:graphic>
      </p:graphicFrame>
      <p:sp>
        <p:nvSpPr>
          <p:cNvPr id="37" name="Slide Number Placeholder 5">
            <a:extLst>
              <a:ext uri="{FF2B5EF4-FFF2-40B4-BE49-F238E27FC236}">
                <a16:creationId xmlns:a16="http://schemas.microsoft.com/office/drawing/2014/main" id="{29B4D95D-D7E1-344B-B5F5-F2BE79D2A182}"/>
              </a:ext>
            </a:extLst>
          </p:cNvPr>
          <p:cNvSpPr txBox="1">
            <a:spLocks/>
          </p:cNvSpPr>
          <p:nvPr userDrawn="1"/>
        </p:nvSpPr>
        <p:spPr>
          <a:xfrm>
            <a:off x="29834492"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FF0000"/>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solidFill>
                  <a:srgbClr val="C8102E"/>
                </a:solidFill>
              </a:rPr>
              <a:pPr/>
              <a:t>‹#›</a:t>
            </a:fld>
            <a:endParaRPr lang="en-US" sz="960" dirty="0">
              <a:solidFill>
                <a:srgbClr val="C8102E"/>
              </a:solidFill>
            </a:endParaRPr>
          </a:p>
        </p:txBody>
      </p:sp>
      <p:sp>
        <p:nvSpPr>
          <p:cNvPr id="125" name="Text Placeholder 3">
            <a:extLst>
              <a:ext uri="{FF2B5EF4-FFF2-40B4-BE49-F238E27FC236}">
                <a16:creationId xmlns:a16="http://schemas.microsoft.com/office/drawing/2014/main" id="{2370FFBE-37A2-9640-8C17-39BD2F6534B6}"/>
              </a:ext>
            </a:extLst>
          </p:cNvPr>
          <p:cNvSpPr>
            <a:spLocks noGrp="1"/>
          </p:cNvSpPr>
          <p:nvPr>
            <p:ph type="body" sz="quarter" idx="22"/>
          </p:nvPr>
        </p:nvSpPr>
        <p:spPr>
          <a:xfrm>
            <a:off x="702750" y="1687959"/>
            <a:ext cx="2982913" cy="445388"/>
          </a:xfrm>
        </p:spPr>
        <p:txBody>
          <a:bodyPr/>
          <a:lstStyle>
            <a:lvl1pPr marL="0" indent="0">
              <a:buNone/>
              <a:defRPr sz="2400" b="1"/>
            </a:lvl1pPr>
          </a:lstStyle>
          <a:p>
            <a:pPr lvl="0"/>
            <a:r>
              <a:rPr lang="en-US"/>
              <a:t>Click to edit</a:t>
            </a:r>
          </a:p>
        </p:txBody>
      </p:sp>
      <p:sp>
        <p:nvSpPr>
          <p:cNvPr id="126" name="Text Placeholder 3">
            <a:extLst>
              <a:ext uri="{FF2B5EF4-FFF2-40B4-BE49-F238E27FC236}">
                <a16:creationId xmlns:a16="http://schemas.microsoft.com/office/drawing/2014/main" id="{F379177C-F1E5-E449-AB33-128B2D474506}"/>
              </a:ext>
            </a:extLst>
          </p:cNvPr>
          <p:cNvSpPr>
            <a:spLocks noGrp="1"/>
          </p:cNvSpPr>
          <p:nvPr>
            <p:ph type="body" sz="quarter" idx="23"/>
          </p:nvPr>
        </p:nvSpPr>
        <p:spPr>
          <a:xfrm>
            <a:off x="7702232" y="1687960"/>
            <a:ext cx="2982913" cy="434094"/>
          </a:xfrm>
        </p:spPr>
        <p:txBody>
          <a:bodyPr/>
          <a:lstStyle>
            <a:lvl1pPr marL="0" indent="0">
              <a:buNone/>
              <a:defRPr sz="2400" b="1"/>
            </a:lvl1pPr>
          </a:lstStyle>
          <a:p>
            <a:pPr lvl="0"/>
            <a:r>
              <a:rPr lang="en-US"/>
              <a:t>Click to edit</a:t>
            </a:r>
          </a:p>
        </p:txBody>
      </p:sp>
      <p:sp>
        <p:nvSpPr>
          <p:cNvPr id="127" name="Text Placeholder 3">
            <a:extLst>
              <a:ext uri="{FF2B5EF4-FFF2-40B4-BE49-F238E27FC236}">
                <a16:creationId xmlns:a16="http://schemas.microsoft.com/office/drawing/2014/main" id="{16E05738-1488-2C4B-8A43-8A38F6F540A1}"/>
              </a:ext>
            </a:extLst>
          </p:cNvPr>
          <p:cNvSpPr>
            <a:spLocks noGrp="1"/>
          </p:cNvSpPr>
          <p:nvPr>
            <p:ph type="body" sz="quarter" idx="24"/>
          </p:nvPr>
        </p:nvSpPr>
        <p:spPr>
          <a:xfrm>
            <a:off x="702748" y="2192061"/>
            <a:ext cx="6171296" cy="667748"/>
          </a:xfrm>
        </p:spPr>
        <p:txBody>
          <a:bodyPr/>
          <a:lstStyle>
            <a:lvl1pPr marL="0" indent="0">
              <a:buNone/>
              <a:defRPr sz="1800" b="0"/>
            </a:lvl1pPr>
          </a:lstStyle>
          <a:p>
            <a:pPr lvl="0"/>
            <a:r>
              <a:rPr lang="en-US"/>
              <a:t>Click to edit</a:t>
            </a:r>
          </a:p>
        </p:txBody>
      </p:sp>
      <p:sp>
        <p:nvSpPr>
          <p:cNvPr id="128" name="Text Placeholder 3">
            <a:extLst>
              <a:ext uri="{FF2B5EF4-FFF2-40B4-BE49-F238E27FC236}">
                <a16:creationId xmlns:a16="http://schemas.microsoft.com/office/drawing/2014/main" id="{E8025EBA-5D54-9D4D-A468-CDB58384101B}"/>
              </a:ext>
            </a:extLst>
          </p:cNvPr>
          <p:cNvSpPr>
            <a:spLocks noGrp="1"/>
          </p:cNvSpPr>
          <p:nvPr>
            <p:ph type="body" sz="quarter" idx="25"/>
          </p:nvPr>
        </p:nvSpPr>
        <p:spPr>
          <a:xfrm>
            <a:off x="7702232" y="2192061"/>
            <a:ext cx="6171289" cy="667748"/>
          </a:xfrm>
        </p:spPr>
        <p:txBody>
          <a:bodyPr/>
          <a:lstStyle>
            <a:lvl1pPr marL="0" indent="0">
              <a:buNone/>
              <a:defRPr sz="1800" b="0"/>
            </a:lvl1pPr>
          </a:lstStyle>
          <a:p>
            <a:pPr lvl="0"/>
            <a:r>
              <a:rPr lang="en-US"/>
              <a:t>Click to edit</a:t>
            </a:r>
          </a:p>
        </p:txBody>
      </p:sp>
      <p:sp>
        <p:nvSpPr>
          <p:cNvPr id="129" name="Text Placeholder 3">
            <a:extLst>
              <a:ext uri="{FF2B5EF4-FFF2-40B4-BE49-F238E27FC236}">
                <a16:creationId xmlns:a16="http://schemas.microsoft.com/office/drawing/2014/main" id="{A8421254-0C37-1340-A955-658F91F3D6CF}"/>
              </a:ext>
            </a:extLst>
          </p:cNvPr>
          <p:cNvSpPr>
            <a:spLocks noGrp="1"/>
          </p:cNvSpPr>
          <p:nvPr>
            <p:ph type="body" sz="quarter" idx="26"/>
          </p:nvPr>
        </p:nvSpPr>
        <p:spPr>
          <a:xfrm>
            <a:off x="7702232" y="3732103"/>
            <a:ext cx="6171289" cy="667748"/>
          </a:xfrm>
        </p:spPr>
        <p:txBody>
          <a:bodyPr/>
          <a:lstStyle>
            <a:lvl1pPr marL="0" indent="0">
              <a:buNone/>
              <a:defRPr sz="1800" b="0"/>
            </a:lvl1pPr>
          </a:lstStyle>
          <a:p>
            <a:pPr lvl="0"/>
            <a:r>
              <a:rPr lang="en-US"/>
              <a:t>Click to edit</a:t>
            </a:r>
          </a:p>
        </p:txBody>
      </p:sp>
      <p:sp>
        <p:nvSpPr>
          <p:cNvPr id="130" name="Text Placeholder 3">
            <a:extLst>
              <a:ext uri="{FF2B5EF4-FFF2-40B4-BE49-F238E27FC236}">
                <a16:creationId xmlns:a16="http://schemas.microsoft.com/office/drawing/2014/main" id="{B6CFDC65-8D2B-1B44-AF80-E7289A82E8B0}"/>
              </a:ext>
            </a:extLst>
          </p:cNvPr>
          <p:cNvSpPr>
            <a:spLocks noGrp="1"/>
          </p:cNvSpPr>
          <p:nvPr>
            <p:ph type="body" sz="quarter" idx="27"/>
          </p:nvPr>
        </p:nvSpPr>
        <p:spPr>
          <a:xfrm>
            <a:off x="702748" y="3756165"/>
            <a:ext cx="6171296" cy="667748"/>
          </a:xfrm>
        </p:spPr>
        <p:txBody>
          <a:bodyPr/>
          <a:lstStyle>
            <a:lvl1pPr marL="0" indent="0">
              <a:buNone/>
              <a:defRPr sz="1800" b="0"/>
            </a:lvl1pPr>
          </a:lstStyle>
          <a:p>
            <a:pPr lvl="0"/>
            <a:r>
              <a:rPr lang="en-US"/>
              <a:t>Click to edit</a:t>
            </a:r>
          </a:p>
        </p:txBody>
      </p:sp>
      <p:sp>
        <p:nvSpPr>
          <p:cNvPr id="131" name="Text Placeholder 3">
            <a:extLst>
              <a:ext uri="{FF2B5EF4-FFF2-40B4-BE49-F238E27FC236}">
                <a16:creationId xmlns:a16="http://schemas.microsoft.com/office/drawing/2014/main" id="{F7EA9FAB-CB05-354A-92B0-151C3E246E00}"/>
              </a:ext>
            </a:extLst>
          </p:cNvPr>
          <p:cNvSpPr>
            <a:spLocks noGrp="1"/>
          </p:cNvSpPr>
          <p:nvPr>
            <p:ph type="body" sz="quarter" idx="28"/>
          </p:nvPr>
        </p:nvSpPr>
        <p:spPr>
          <a:xfrm>
            <a:off x="702750" y="3107685"/>
            <a:ext cx="2982913" cy="623563"/>
          </a:xfrm>
        </p:spPr>
        <p:txBody>
          <a:bodyPr/>
          <a:lstStyle>
            <a:lvl1pPr marL="0" indent="0">
              <a:buNone/>
              <a:defRPr sz="3600" b="1">
                <a:solidFill>
                  <a:srgbClr val="C8102E"/>
                </a:solidFill>
              </a:defRPr>
            </a:lvl1pPr>
          </a:lstStyle>
          <a:p>
            <a:pPr lvl="0"/>
            <a:r>
              <a:rPr lang="en-US"/>
              <a:t>Click to edit</a:t>
            </a:r>
          </a:p>
        </p:txBody>
      </p:sp>
      <p:sp>
        <p:nvSpPr>
          <p:cNvPr id="132" name="Text Placeholder 3">
            <a:extLst>
              <a:ext uri="{FF2B5EF4-FFF2-40B4-BE49-F238E27FC236}">
                <a16:creationId xmlns:a16="http://schemas.microsoft.com/office/drawing/2014/main" id="{645A9CA8-A3F7-B042-94B5-20E5D5443E68}"/>
              </a:ext>
            </a:extLst>
          </p:cNvPr>
          <p:cNvSpPr>
            <a:spLocks noGrp="1"/>
          </p:cNvSpPr>
          <p:nvPr>
            <p:ph type="body" sz="quarter" idx="29"/>
          </p:nvPr>
        </p:nvSpPr>
        <p:spPr>
          <a:xfrm>
            <a:off x="7704709" y="3107685"/>
            <a:ext cx="2982913" cy="623563"/>
          </a:xfrm>
        </p:spPr>
        <p:txBody>
          <a:bodyPr/>
          <a:lstStyle>
            <a:lvl1pPr marL="0" indent="0">
              <a:buNone/>
              <a:defRPr sz="3600" b="1">
                <a:solidFill>
                  <a:srgbClr val="000099"/>
                </a:solidFill>
              </a:defRPr>
            </a:lvl1pPr>
          </a:lstStyle>
          <a:p>
            <a:pPr lvl="0"/>
            <a:r>
              <a:rPr lang="en-US"/>
              <a:t>Click to edit</a:t>
            </a:r>
          </a:p>
        </p:txBody>
      </p:sp>
      <p:sp>
        <p:nvSpPr>
          <p:cNvPr id="133" name="Text Placeholder 3">
            <a:extLst>
              <a:ext uri="{FF2B5EF4-FFF2-40B4-BE49-F238E27FC236}">
                <a16:creationId xmlns:a16="http://schemas.microsoft.com/office/drawing/2014/main" id="{FA6865A7-8B86-CC46-8E6C-77BFB9DA56F4}"/>
              </a:ext>
            </a:extLst>
          </p:cNvPr>
          <p:cNvSpPr>
            <a:spLocks noGrp="1"/>
          </p:cNvSpPr>
          <p:nvPr>
            <p:ph type="body" sz="quarter" idx="30"/>
          </p:nvPr>
        </p:nvSpPr>
        <p:spPr>
          <a:xfrm>
            <a:off x="4461003" y="4747881"/>
            <a:ext cx="2565442" cy="478186"/>
          </a:xfrm>
        </p:spPr>
        <p:txBody>
          <a:bodyPr/>
          <a:lstStyle>
            <a:lvl1pPr marL="0" indent="0">
              <a:buNone/>
              <a:defRPr sz="2400" b="1"/>
            </a:lvl1pPr>
          </a:lstStyle>
          <a:p>
            <a:pPr lvl="0"/>
            <a:r>
              <a:rPr lang="en-US"/>
              <a:t>Click to edit</a:t>
            </a:r>
          </a:p>
        </p:txBody>
      </p:sp>
      <p:sp>
        <p:nvSpPr>
          <p:cNvPr id="134" name="Text Placeholder 3">
            <a:extLst>
              <a:ext uri="{FF2B5EF4-FFF2-40B4-BE49-F238E27FC236}">
                <a16:creationId xmlns:a16="http://schemas.microsoft.com/office/drawing/2014/main" id="{0A2E19B2-26BC-E24B-B176-0B3724CED714}"/>
              </a:ext>
            </a:extLst>
          </p:cNvPr>
          <p:cNvSpPr>
            <a:spLocks noGrp="1"/>
          </p:cNvSpPr>
          <p:nvPr>
            <p:ph type="body" sz="quarter" idx="31"/>
          </p:nvPr>
        </p:nvSpPr>
        <p:spPr>
          <a:xfrm>
            <a:off x="11358521" y="4747881"/>
            <a:ext cx="2565442" cy="478186"/>
          </a:xfrm>
        </p:spPr>
        <p:txBody>
          <a:bodyPr/>
          <a:lstStyle>
            <a:lvl1pPr marL="0" indent="0">
              <a:buNone/>
              <a:defRPr sz="2400" b="1"/>
            </a:lvl1pPr>
          </a:lstStyle>
          <a:p>
            <a:pPr lvl="0"/>
            <a:r>
              <a:rPr lang="en-US"/>
              <a:t>Click to edit</a:t>
            </a:r>
          </a:p>
        </p:txBody>
      </p:sp>
      <p:sp>
        <p:nvSpPr>
          <p:cNvPr id="135" name="Text Placeholder 3">
            <a:extLst>
              <a:ext uri="{FF2B5EF4-FFF2-40B4-BE49-F238E27FC236}">
                <a16:creationId xmlns:a16="http://schemas.microsoft.com/office/drawing/2014/main" id="{ED4F9BBA-DC29-EB43-8720-94418E10EE8F}"/>
              </a:ext>
            </a:extLst>
          </p:cNvPr>
          <p:cNvSpPr>
            <a:spLocks noGrp="1"/>
          </p:cNvSpPr>
          <p:nvPr>
            <p:ph type="body" sz="quarter" idx="32"/>
          </p:nvPr>
        </p:nvSpPr>
        <p:spPr>
          <a:xfrm>
            <a:off x="11358522" y="5378468"/>
            <a:ext cx="2565440" cy="1401834"/>
          </a:xfrm>
        </p:spPr>
        <p:txBody>
          <a:bodyPr/>
          <a:lstStyle>
            <a:lvl1pPr marL="237734" indent="-237734">
              <a:spcBef>
                <a:spcPts val="960"/>
              </a:spcBef>
              <a:buFont typeface="Arial" panose="020B0604020202020204" pitchFamily="34" charset="0"/>
              <a:buChar char="•"/>
              <a:defRPr sz="1800" b="0"/>
            </a:lvl1pPr>
          </a:lstStyle>
          <a:p>
            <a:pPr lvl="0"/>
            <a:r>
              <a:rPr lang="en-US"/>
              <a:t>Click to edit</a:t>
            </a:r>
          </a:p>
        </p:txBody>
      </p:sp>
      <p:sp>
        <p:nvSpPr>
          <p:cNvPr id="136" name="Text Placeholder 3">
            <a:extLst>
              <a:ext uri="{FF2B5EF4-FFF2-40B4-BE49-F238E27FC236}">
                <a16:creationId xmlns:a16="http://schemas.microsoft.com/office/drawing/2014/main" id="{7B8A0F17-F2BD-394C-92FC-2DBDFCA33016}"/>
              </a:ext>
            </a:extLst>
          </p:cNvPr>
          <p:cNvSpPr>
            <a:spLocks noGrp="1"/>
          </p:cNvSpPr>
          <p:nvPr>
            <p:ph type="body" sz="quarter" idx="33"/>
          </p:nvPr>
        </p:nvSpPr>
        <p:spPr>
          <a:xfrm>
            <a:off x="4461004" y="5378468"/>
            <a:ext cx="2565440" cy="1401834"/>
          </a:xfrm>
        </p:spPr>
        <p:txBody>
          <a:bodyPr/>
          <a:lstStyle>
            <a:lvl1pPr marL="237734" indent="-237734">
              <a:spcBef>
                <a:spcPts val="960"/>
              </a:spcBef>
              <a:buFont typeface="Arial" panose="020B0604020202020204" pitchFamily="34" charset="0"/>
              <a:buChar char="•"/>
              <a:defRPr sz="1800" b="0"/>
            </a:lvl1pPr>
          </a:lstStyle>
          <a:p>
            <a:pPr lvl="0"/>
            <a:r>
              <a:rPr lang="en-US"/>
              <a:t>Click to edit</a:t>
            </a:r>
          </a:p>
        </p:txBody>
      </p:sp>
      <p:sp>
        <p:nvSpPr>
          <p:cNvPr id="139" name="Text Placeholder 19">
            <a:extLst>
              <a:ext uri="{FF2B5EF4-FFF2-40B4-BE49-F238E27FC236}">
                <a16:creationId xmlns:a16="http://schemas.microsoft.com/office/drawing/2014/main" id="{AB62CD71-349B-B24A-A648-B473B71EBA08}"/>
              </a:ext>
            </a:extLst>
          </p:cNvPr>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0" name="Text Placeholder 3">
            <a:extLst>
              <a:ext uri="{FF2B5EF4-FFF2-40B4-BE49-F238E27FC236}">
                <a16:creationId xmlns:a16="http://schemas.microsoft.com/office/drawing/2014/main" id="{08B2C4DA-8D4A-044D-A18A-5259A6645CAD}"/>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45" name="Text Placeholder 3">
            <a:extLst>
              <a:ext uri="{FF2B5EF4-FFF2-40B4-BE49-F238E27FC236}">
                <a16:creationId xmlns:a16="http://schemas.microsoft.com/office/drawing/2014/main" id="{69F5B089-344B-D340-86E0-371125C2F054}"/>
              </a:ext>
            </a:extLst>
          </p:cNvPr>
          <p:cNvSpPr>
            <a:spLocks noGrp="1"/>
          </p:cNvSpPr>
          <p:nvPr>
            <p:ph type="body" sz="quarter" idx="34"/>
          </p:nvPr>
        </p:nvSpPr>
        <p:spPr>
          <a:xfrm>
            <a:off x="9395932" y="5378468"/>
            <a:ext cx="1726770" cy="1401834"/>
          </a:xfrm>
        </p:spPr>
        <p:txBody>
          <a:bodyPr/>
          <a:lstStyle>
            <a:lvl1pPr marL="0" indent="0">
              <a:buFont typeface="Arial" panose="020B0604020202020204" pitchFamily="34" charset="0"/>
              <a:buNone/>
              <a:defRPr sz="1800" b="0"/>
            </a:lvl1pPr>
          </a:lstStyle>
          <a:p>
            <a:pPr lvl="0"/>
            <a:r>
              <a:rPr lang="en-US"/>
              <a:t>Click to edit</a:t>
            </a:r>
          </a:p>
        </p:txBody>
      </p:sp>
      <p:sp>
        <p:nvSpPr>
          <p:cNvPr id="147" name="Text Placeholder 3">
            <a:extLst>
              <a:ext uri="{FF2B5EF4-FFF2-40B4-BE49-F238E27FC236}">
                <a16:creationId xmlns:a16="http://schemas.microsoft.com/office/drawing/2014/main" id="{4E273F30-D965-9848-9A7C-C3F20398BD9D}"/>
              </a:ext>
            </a:extLst>
          </p:cNvPr>
          <p:cNvSpPr>
            <a:spLocks noGrp="1"/>
          </p:cNvSpPr>
          <p:nvPr>
            <p:ph type="body" sz="quarter" idx="36" hasCustomPrompt="1"/>
          </p:nvPr>
        </p:nvSpPr>
        <p:spPr>
          <a:xfrm>
            <a:off x="9395934" y="4678451"/>
            <a:ext cx="1726769" cy="623563"/>
          </a:xfrm>
        </p:spPr>
        <p:txBody>
          <a:bodyPr/>
          <a:lstStyle>
            <a:lvl1pPr marL="0" indent="0">
              <a:buNone/>
              <a:defRPr sz="4400" b="1">
                <a:solidFill>
                  <a:srgbClr val="000099"/>
                </a:solidFill>
              </a:defRPr>
            </a:lvl1pPr>
          </a:lstStyle>
          <a:p>
            <a:pPr lvl="0"/>
            <a:r>
              <a:rPr lang="en-US"/>
              <a:t>edit</a:t>
            </a:r>
          </a:p>
        </p:txBody>
      </p:sp>
      <p:sp>
        <p:nvSpPr>
          <p:cNvPr id="25" name="Slide Number Placeholder 5">
            <a:extLst>
              <a:ext uri="{FF2B5EF4-FFF2-40B4-BE49-F238E27FC236}">
                <a16:creationId xmlns:a16="http://schemas.microsoft.com/office/drawing/2014/main" id="{05DEF135-9169-A349-9501-72BA8764E9DA}"/>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4" name="Text Placeholder 3">
            <a:extLst>
              <a:ext uri="{FF2B5EF4-FFF2-40B4-BE49-F238E27FC236}">
                <a16:creationId xmlns:a16="http://schemas.microsoft.com/office/drawing/2014/main" id="{7F9474BB-DCE7-4B4C-AE76-9482A8AE0480}"/>
              </a:ext>
            </a:extLst>
          </p:cNvPr>
          <p:cNvSpPr>
            <a:spLocks noGrp="1"/>
          </p:cNvSpPr>
          <p:nvPr>
            <p:ph type="body" sz="quarter" idx="37"/>
          </p:nvPr>
        </p:nvSpPr>
        <p:spPr>
          <a:xfrm>
            <a:off x="2560418" y="5378468"/>
            <a:ext cx="1694747" cy="1401834"/>
          </a:xfrm>
        </p:spPr>
        <p:txBody>
          <a:bodyPr/>
          <a:lstStyle>
            <a:lvl1pPr marL="0" indent="0">
              <a:buFont typeface="Arial" panose="020B0604020202020204" pitchFamily="34" charset="0"/>
              <a:buNone/>
              <a:defRPr sz="1800" b="0"/>
            </a:lvl1pPr>
          </a:lstStyle>
          <a:p>
            <a:pPr lvl="0"/>
            <a:r>
              <a:rPr lang="en-US"/>
              <a:t>Click to edit</a:t>
            </a:r>
          </a:p>
        </p:txBody>
      </p:sp>
      <p:sp>
        <p:nvSpPr>
          <p:cNvPr id="26" name="Text Placeholder 3">
            <a:extLst>
              <a:ext uri="{FF2B5EF4-FFF2-40B4-BE49-F238E27FC236}">
                <a16:creationId xmlns:a16="http://schemas.microsoft.com/office/drawing/2014/main" id="{D197E88C-0BB2-C64B-90C6-7FEB4CEAAAA6}"/>
              </a:ext>
            </a:extLst>
          </p:cNvPr>
          <p:cNvSpPr>
            <a:spLocks noGrp="1"/>
          </p:cNvSpPr>
          <p:nvPr>
            <p:ph type="body" sz="quarter" idx="38" hasCustomPrompt="1"/>
          </p:nvPr>
        </p:nvSpPr>
        <p:spPr>
          <a:xfrm>
            <a:off x="2560419" y="4678451"/>
            <a:ext cx="1694746" cy="623563"/>
          </a:xfrm>
        </p:spPr>
        <p:txBody>
          <a:bodyPr/>
          <a:lstStyle>
            <a:lvl1pPr marL="0" indent="0">
              <a:buNone/>
              <a:defRPr sz="4400" b="1">
                <a:solidFill>
                  <a:srgbClr val="C8102E"/>
                </a:solidFill>
              </a:defRPr>
            </a:lvl1pPr>
          </a:lstStyle>
          <a:p>
            <a:pPr lvl="0"/>
            <a:r>
              <a:rPr lang="en-US"/>
              <a:t>edit</a:t>
            </a:r>
          </a:p>
        </p:txBody>
      </p:sp>
    </p:spTree>
    <p:extLst>
      <p:ext uri="{BB962C8B-B14F-4D97-AF65-F5344CB8AC3E}">
        <p14:creationId xmlns:p14="http://schemas.microsoft.com/office/powerpoint/2010/main" val="3291477703"/>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1"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7" name="Text Placeholder 3">
            <a:extLst>
              <a:ext uri="{FF2B5EF4-FFF2-40B4-BE49-F238E27FC236}">
                <a16:creationId xmlns:a16="http://schemas.microsoft.com/office/drawing/2014/main" id="{7EBCD416-E180-4844-AE7C-E86754B55E25}"/>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737763636"/>
      </p:ext>
    </p:extLst>
  </p:cSld>
  <p:clrMapOvr>
    <a:masterClrMapping/>
  </p:clrMapOvr>
  <p:transition>
    <p:fade/>
  </p:transition>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055814"/>
            <a:ext cx="13177520" cy="5466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500"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9" name="Text Placeholder 8"/>
          <p:cNvSpPr>
            <a:spLocks noGrp="1"/>
          </p:cNvSpPr>
          <p:nvPr>
            <p:ph type="body" sz="quarter" idx="11"/>
          </p:nvPr>
        </p:nvSpPr>
        <p:spPr>
          <a:xfrm>
            <a:off x="726441" y="2912748"/>
            <a:ext cx="13177520" cy="414635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7"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C43E0D67-8D13-E647-B59C-D9F54B974EBC}"/>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469024034"/>
      </p:ext>
    </p:extLst>
  </p:cSld>
  <p:clrMapOvr>
    <a:masterClrMapping/>
  </p:clrMapOvr>
  <p:transition>
    <p:fade/>
  </p:transition>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394475"/>
            <a:ext cx="1317752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4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7" name="Text Placeholder 3">
            <a:extLst>
              <a:ext uri="{FF2B5EF4-FFF2-40B4-BE49-F238E27FC236}">
                <a16:creationId xmlns:a16="http://schemas.microsoft.com/office/drawing/2014/main" id="{D0A5A7B7-A1D0-FE41-896A-B621B4C61E68}"/>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376666565"/>
      </p:ext>
    </p:extLst>
  </p:cSld>
  <p:clrMapOvr>
    <a:masterClrMapping/>
  </p:clrMapOvr>
  <p:transition>
    <p:fade/>
  </p:transition>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26441" y="2055500"/>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7422777" y="2055497"/>
            <a:ext cx="6482080" cy="5003610"/>
          </a:xfrm>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493810857"/>
      </p:ext>
    </p:extLst>
  </p:cSld>
  <p:clrMapOvr>
    <a:masterClrMapping/>
  </p:clrMapOvr>
  <p:transition>
    <p:fade/>
  </p:transition>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o layou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26441" y="2055500"/>
            <a:ext cx="6482080" cy="5003608"/>
          </a:xfrm>
        </p:spPr>
        <p:txBody>
          <a:bodyPr/>
          <a:lstStyle>
            <a:lvl1pPr marL="0" indent="0">
              <a:buNone/>
              <a:defRPr>
                <a:solidFill>
                  <a:srgbClr val="595959"/>
                </a:solidFill>
              </a:defRPr>
            </a:lvl1pPr>
            <a:lvl2pPr marL="260593" indent="0">
              <a:buNone/>
              <a:defRPr>
                <a:solidFill>
                  <a:srgbClr val="595959"/>
                </a:solidFill>
              </a:defRPr>
            </a:lvl2pPr>
            <a:lvl3pPr marL="636396" indent="0">
              <a:buNone/>
              <a:defRPr>
                <a:solidFill>
                  <a:srgbClr val="595959"/>
                </a:solidFill>
              </a:defRPr>
            </a:lvl3pPr>
            <a:lvl4pPr marL="1075291" indent="0">
              <a:buNone/>
              <a:defRPr>
                <a:solidFill>
                  <a:srgbClr val="595959"/>
                </a:solidFill>
              </a:defRPr>
            </a:lvl4pPr>
            <a:lvl5pPr marL="1556132" indent="0">
              <a:buNone/>
              <a:defRPr>
                <a:solidFill>
                  <a:srgbClr val="595959"/>
                </a:solidFill>
              </a:defRPr>
            </a:lvl5pPr>
          </a:lstStyle>
          <a:p>
            <a:pPr lvl="0"/>
            <a:r>
              <a:rPr lang="en-US"/>
              <a:t>Edit Master text styles</a:t>
            </a:r>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1" y="454150"/>
            <a:ext cx="6588760" cy="692497"/>
          </a:xfrm>
        </p:spPr>
        <p:txBody>
          <a:bodyPr/>
          <a:lstStyle>
            <a:lvl1pPr>
              <a:defRPr kern="1500" spc="-100" baseline="0">
                <a:solidFill>
                  <a:schemeClr val="tx1"/>
                </a:solidFill>
              </a:defRPr>
            </a:lvl1pPr>
          </a:lstStyle>
          <a:p>
            <a:r>
              <a:rPr lang="en-US"/>
              <a:t>Click to edit Master title</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Content Placeholder 30">
            <a:extLst>
              <a:ext uri="{FF2B5EF4-FFF2-40B4-BE49-F238E27FC236}">
                <a16:creationId xmlns:a16="http://schemas.microsoft.com/office/drawing/2014/main" id="{37E9AC5D-F6EB-CE40-9936-5793341DCC66}"/>
              </a:ext>
            </a:extLst>
          </p:cNvPr>
          <p:cNvSpPr>
            <a:spLocks noGrp="1"/>
          </p:cNvSpPr>
          <p:nvPr>
            <p:ph sz="quarter" idx="18"/>
          </p:nvPr>
        </p:nvSpPr>
        <p:spPr>
          <a:xfrm>
            <a:off x="7755027" y="952798"/>
            <a:ext cx="6164354" cy="6163459"/>
          </a:xfrm>
        </p:spPr>
        <p:txBody>
          <a:bodyPr/>
          <a:lstStyle/>
          <a:p>
            <a:endParaRPr lang="en-US"/>
          </a:p>
        </p:txBody>
      </p:sp>
      <p:sp>
        <p:nvSpPr>
          <p:cNvPr id="18" name="Text Placeholder 4">
            <a:extLst>
              <a:ext uri="{FF2B5EF4-FFF2-40B4-BE49-F238E27FC236}">
                <a16:creationId xmlns:a16="http://schemas.microsoft.com/office/drawing/2014/main" id="{9F61B276-111F-0F49-AA22-140F5A6A7DE0}"/>
              </a:ext>
            </a:extLst>
          </p:cNvPr>
          <p:cNvSpPr>
            <a:spLocks noGrp="1"/>
          </p:cNvSpPr>
          <p:nvPr>
            <p:ph type="body" sz="quarter" idx="10"/>
          </p:nvPr>
        </p:nvSpPr>
        <p:spPr>
          <a:xfrm>
            <a:off x="726441" y="1222847"/>
            <a:ext cx="5526079"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2190065195"/>
      </p:ext>
    </p:extLst>
  </p:cSld>
  <p:clrMapOvr>
    <a:masterClrMapping/>
  </p:clrMapOvr>
  <p:transition>
    <p:fade/>
  </p:transition>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7" name="Content Placeholder 11"/>
          <p:cNvSpPr>
            <a:spLocks noGrp="1"/>
          </p:cNvSpPr>
          <p:nvPr>
            <p:ph sz="quarter" idx="26"/>
          </p:nvPr>
        </p:nvSpPr>
        <p:spPr>
          <a:xfrm>
            <a:off x="5206702" y="2021631"/>
            <a:ext cx="8697258" cy="5037476"/>
          </a:xfrm>
        </p:spPr>
        <p:txBody>
          <a:bodyPr/>
          <a:lstStyle>
            <a:lvl1pPr marL="0" indent="0">
              <a:buNone/>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p:cNvSpPr>
            <a:spLocks noGrp="1"/>
          </p:cNvSpPr>
          <p:nvPr>
            <p:ph type="body" sz="quarter" idx="27" hasCustomPrompt="1"/>
          </p:nvPr>
        </p:nvSpPr>
        <p:spPr>
          <a:xfrm>
            <a:off x="737871" y="2055500"/>
            <a:ext cx="4199890" cy="5003608"/>
          </a:xfrm>
        </p:spPr>
        <p:txBody>
          <a:bodyPr/>
          <a:lstStyle>
            <a:lvl1pPr>
              <a:defRPr sz="2500">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p:txBody>
      </p:sp>
      <p:sp>
        <p:nvSpPr>
          <p:cNvPr id="19"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29163802"/>
      </p:ext>
    </p:extLst>
  </p:cSld>
  <p:clrMapOvr>
    <a:masterClrMapping/>
  </p:clrMapOvr>
  <p:transition>
    <p:fade/>
  </p:transition>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9"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Slide Number Placeholder 5">
            <a:extLst>
              <a:ext uri="{FF2B5EF4-FFF2-40B4-BE49-F238E27FC236}">
                <a16:creationId xmlns:a16="http://schemas.microsoft.com/office/drawing/2014/main" id="{A1F18C78-6B4E-4741-AC78-006AA2AF011E}"/>
              </a:ext>
            </a:extLst>
          </p:cNvPr>
          <p:cNvSpPr txBox="1">
            <a:spLocks/>
          </p:cNvSpPr>
          <p:nvPr userDrawn="1"/>
        </p:nvSpPr>
        <p:spPr>
          <a:xfrm>
            <a:off x="29753136"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C8102E"/>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pPr/>
              <a:t>‹#›</a:t>
            </a:fld>
            <a:endParaRPr lang="en-US" sz="960" dirty="0"/>
          </a:p>
        </p:txBody>
      </p:sp>
      <p:sp>
        <p:nvSpPr>
          <p:cNvPr id="23" name="Picture Placeholder 2">
            <a:extLst>
              <a:ext uri="{FF2B5EF4-FFF2-40B4-BE49-F238E27FC236}">
                <a16:creationId xmlns:a16="http://schemas.microsoft.com/office/drawing/2014/main" id="{02648577-FAC1-4B4E-BFCD-47D88E7BA13C}"/>
              </a:ext>
            </a:extLst>
          </p:cNvPr>
          <p:cNvSpPr>
            <a:spLocks noGrp="1"/>
          </p:cNvSpPr>
          <p:nvPr>
            <p:ph type="pic" sz="quarter" idx="33"/>
          </p:nvPr>
        </p:nvSpPr>
        <p:spPr>
          <a:xfrm>
            <a:off x="729615" y="2021632"/>
            <a:ext cx="4216400" cy="5037476"/>
          </a:xfrm>
        </p:spPr>
        <p:txBody>
          <a:bodyPr/>
          <a:lstStyle/>
          <a:p>
            <a:endParaRPr lang="en-US" dirty="0"/>
          </a:p>
        </p:txBody>
      </p:sp>
      <p:sp>
        <p:nvSpPr>
          <p:cNvPr id="24" name="Text Placeholder 4">
            <a:extLst>
              <a:ext uri="{FF2B5EF4-FFF2-40B4-BE49-F238E27FC236}">
                <a16:creationId xmlns:a16="http://schemas.microsoft.com/office/drawing/2014/main" id="{88000DC0-46E4-F848-8F95-4855A6A28DFB}"/>
              </a:ext>
            </a:extLst>
          </p:cNvPr>
          <p:cNvSpPr>
            <a:spLocks noGrp="1"/>
          </p:cNvSpPr>
          <p:nvPr>
            <p:ph type="body" sz="quarter" idx="34"/>
          </p:nvPr>
        </p:nvSpPr>
        <p:spPr>
          <a:xfrm>
            <a:off x="5207001" y="2020888"/>
            <a:ext cx="8705850" cy="5037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9382398"/>
      </p:ext>
    </p:extLst>
  </p:cSld>
  <p:clrMapOvr>
    <a:masterClrMapping/>
  </p:clrMapOvr>
  <p:transition>
    <p:fade/>
  </p:transition>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500"/>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1" y="2055497"/>
            <a:ext cx="6482080" cy="5003608"/>
          </a:xfrm>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1375868622"/>
      </p:ext>
    </p:extLst>
  </p:cSld>
  <p:clrMapOvr>
    <a:masterClrMapping/>
  </p:clrMapOvr>
  <p:transition>
    <p:fade/>
  </p:transition>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ub, RIGHT HALF bullets">
    <p:bg>
      <p:bgPr>
        <a:solidFill>
          <a:schemeClr val="bg1"/>
        </a:solidFill>
        <a:effectLst/>
      </p:bgPr>
    </p:bg>
    <p:spTree>
      <p:nvGrpSpPr>
        <p:cNvPr id="1" name=""/>
        <p:cNvGrpSpPr/>
        <p:nvPr/>
      </p:nvGrpSpPr>
      <p:grpSpPr>
        <a:xfrm>
          <a:off x="0" y="0"/>
          <a:ext cx="0" cy="0"/>
          <a:chOff x="0" y="0"/>
          <a:chExt cx="0" cy="0"/>
        </a:xfrm>
      </p:grpSpPr>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
        <p:nvSpPr>
          <p:cNvPr id="13" name="Rectangle 12">
            <a:extLst>
              <a:ext uri="{FF2B5EF4-FFF2-40B4-BE49-F238E27FC236}">
                <a16:creationId xmlns:a16="http://schemas.microsoft.com/office/drawing/2014/main" id="{EB726643-E58E-CC48-AF17-2A78BB6C30D4}"/>
              </a:ext>
            </a:extLst>
          </p:cNvPr>
          <p:cNvSpPr/>
          <p:nvPr userDrawn="1"/>
        </p:nvSpPr>
        <p:spPr bwMode="auto">
          <a:xfrm>
            <a:off x="721361"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12E188AA-0D2B-E449-A0C8-1EFBC82B9C91}"/>
              </a:ext>
            </a:extLst>
          </p:cNvPr>
          <p:cNvSpPr/>
          <p:nvPr userDrawn="1"/>
        </p:nvSpPr>
        <p:spPr bwMode="auto">
          <a:xfrm>
            <a:off x="10811606"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3C5CF704-52FC-5740-8859-CC46FFF32894}"/>
              </a:ext>
            </a:extLst>
          </p:cNvPr>
          <p:cNvSpPr/>
          <p:nvPr userDrawn="1"/>
        </p:nvSpPr>
        <p:spPr bwMode="auto">
          <a:xfrm>
            <a:off x="4090888"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Rectangle 16">
            <a:extLst>
              <a:ext uri="{FF2B5EF4-FFF2-40B4-BE49-F238E27FC236}">
                <a16:creationId xmlns:a16="http://schemas.microsoft.com/office/drawing/2014/main" id="{63914D36-44F9-2F48-BE16-3B089B393692}"/>
              </a:ext>
            </a:extLst>
          </p:cNvPr>
          <p:cNvSpPr/>
          <p:nvPr userDrawn="1"/>
        </p:nvSpPr>
        <p:spPr bwMode="auto">
          <a:xfrm>
            <a:off x="7451247" y="1634147"/>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 Placeholder 12">
            <a:extLst>
              <a:ext uri="{FF2B5EF4-FFF2-40B4-BE49-F238E27FC236}">
                <a16:creationId xmlns:a16="http://schemas.microsoft.com/office/drawing/2014/main" id="{98E77801-14E1-F447-BA28-6AB45414E1A8}"/>
              </a:ext>
            </a:extLst>
          </p:cNvPr>
          <p:cNvSpPr txBox="1">
            <a:spLocks/>
          </p:cNvSpPr>
          <p:nvPr userDrawn="1"/>
        </p:nvSpPr>
        <p:spPr>
          <a:xfrm>
            <a:off x="-3261245" y="2449769"/>
            <a:ext cx="2763132" cy="3215052"/>
          </a:xfrm>
          <a:prstGeom prst="rect">
            <a:avLst/>
          </a:prstGeom>
        </p:spPr>
        <p:txBody>
          <a:bodyPr/>
          <a:lstStyle>
            <a:lvl1pPr marL="241402" indent="-285293"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40" indent="-28803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824" indent="-24140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736" indent="-24140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557" indent="-22936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468"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a:lstStyle>
          <a:p>
            <a:pPr marL="0" indent="0" defTabSz="914364">
              <a:buNone/>
            </a:pPr>
            <a:endParaRPr lang="en-US" sz="1800" kern="0" dirty="0"/>
          </a:p>
        </p:txBody>
      </p:sp>
      <p:sp>
        <p:nvSpPr>
          <p:cNvPr id="27" name="Text Placeholder 2">
            <a:extLst>
              <a:ext uri="{FF2B5EF4-FFF2-40B4-BE49-F238E27FC236}">
                <a16:creationId xmlns:a16="http://schemas.microsoft.com/office/drawing/2014/main" id="{D3DE7820-60D0-2A47-98FB-E1D6F0ECB6D9}"/>
              </a:ext>
            </a:extLst>
          </p:cNvPr>
          <p:cNvSpPr>
            <a:spLocks noGrp="1"/>
          </p:cNvSpPr>
          <p:nvPr>
            <p:ph type="body" sz="quarter" idx="18"/>
          </p:nvPr>
        </p:nvSpPr>
        <p:spPr>
          <a:xfrm>
            <a:off x="893764"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28" name="Text Placeholder 2">
            <a:extLst>
              <a:ext uri="{FF2B5EF4-FFF2-40B4-BE49-F238E27FC236}">
                <a16:creationId xmlns:a16="http://schemas.microsoft.com/office/drawing/2014/main" id="{46258EAD-CB9B-C745-A692-276ADD6A527E}"/>
              </a:ext>
            </a:extLst>
          </p:cNvPr>
          <p:cNvSpPr>
            <a:spLocks noGrp="1"/>
          </p:cNvSpPr>
          <p:nvPr>
            <p:ph type="body" sz="quarter" idx="19"/>
          </p:nvPr>
        </p:nvSpPr>
        <p:spPr>
          <a:xfrm>
            <a:off x="4358859"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0" name="Text Placeholder 2">
            <a:extLst>
              <a:ext uri="{FF2B5EF4-FFF2-40B4-BE49-F238E27FC236}">
                <a16:creationId xmlns:a16="http://schemas.microsoft.com/office/drawing/2014/main" id="{8F6C0358-B85F-6E44-A9CD-2F332E6CD4B9}"/>
              </a:ext>
            </a:extLst>
          </p:cNvPr>
          <p:cNvSpPr>
            <a:spLocks noGrp="1"/>
          </p:cNvSpPr>
          <p:nvPr>
            <p:ph type="body" sz="quarter" idx="20"/>
          </p:nvPr>
        </p:nvSpPr>
        <p:spPr>
          <a:xfrm>
            <a:off x="7679574"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3" name="Text Placeholder 4">
            <a:extLst>
              <a:ext uri="{FF2B5EF4-FFF2-40B4-BE49-F238E27FC236}">
                <a16:creationId xmlns:a16="http://schemas.microsoft.com/office/drawing/2014/main" id="{7E4F1039-CF58-6A43-BB44-5674AA4F98B6}"/>
              </a:ext>
            </a:extLst>
          </p:cNvPr>
          <p:cNvSpPr>
            <a:spLocks noGrp="1"/>
          </p:cNvSpPr>
          <p:nvPr>
            <p:ph type="body" sz="quarter" idx="21"/>
          </p:nvPr>
        </p:nvSpPr>
        <p:spPr>
          <a:xfrm>
            <a:off x="964995" y="2569860"/>
            <a:ext cx="2605088" cy="3214687"/>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4" name="Text Placeholder 4">
            <a:extLst>
              <a:ext uri="{FF2B5EF4-FFF2-40B4-BE49-F238E27FC236}">
                <a16:creationId xmlns:a16="http://schemas.microsoft.com/office/drawing/2014/main" id="{F69411A7-265F-C24E-8A73-1D09829D496C}"/>
              </a:ext>
            </a:extLst>
          </p:cNvPr>
          <p:cNvSpPr>
            <a:spLocks noGrp="1"/>
          </p:cNvSpPr>
          <p:nvPr>
            <p:ph type="body" sz="quarter" idx="22"/>
          </p:nvPr>
        </p:nvSpPr>
        <p:spPr>
          <a:xfrm>
            <a:off x="4367595"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5" name="Text Placeholder 4">
            <a:extLst>
              <a:ext uri="{FF2B5EF4-FFF2-40B4-BE49-F238E27FC236}">
                <a16:creationId xmlns:a16="http://schemas.microsoft.com/office/drawing/2014/main" id="{4D589452-3E57-D440-9FB0-6E4868DB139E}"/>
              </a:ext>
            </a:extLst>
          </p:cNvPr>
          <p:cNvSpPr>
            <a:spLocks noGrp="1"/>
          </p:cNvSpPr>
          <p:nvPr>
            <p:ph type="body" sz="quarter" idx="23"/>
          </p:nvPr>
        </p:nvSpPr>
        <p:spPr>
          <a:xfrm>
            <a:off x="7672269"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6" name="Text Placeholder 4">
            <a:extLst>
              <a:ext uri="{FF2B5EF4-FFF2-40B4-BE49-F238E27FC236}">
                <a16:creationId xmlns:a16="http://schemas.microsoft.com/office/drawing/2014/main" id="{B4D1912F-14CA-384D-A430-5E9D99E3206C}"/>
              </a:ext>
            </a:extLst>
          </p:cNvPr>
          <p:cNvSpPr>
            <a:spLocks noGrp="1"/>
          </p:cNvSpPr>
          <p:nvPr>
            <p:ph type="body" sz="quarter" idx="24"/>
          </p:nvPr>
        </p:nvSpPr>
        <p:spPr>
          <a:xfrm>
            <a:off x="11025069" y="2582801"/>
            <a:ext cx="2605088" cy="3214687"/>
          </a:xfrm>
        </p:spPr>
        <p:txBody>
          <a:bodyPr/>
          <a:lstStyle>
            <a:lvl1pPr marL="0" indent="0" defTabSz="914364">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7" name="Text Placeholder 2">
            <a:extLst>
              <a:ext uri="{FF2B5EF4-FFF2-40B4-BE49-F238E27FC236}">
                <a16:creationId xmlns:a16="http://schemas.microsoft.com/office/drawing/2014/main" id="{57F6A302-A023-0448-9894-EF9B860FE511}"/>
              </a:ext>
            </a:extLst>
          </p:cNvPr>
          <p:cNvSpPr>
            <a:spLocks noGrp="1"/>
          </p:cNvSpPr>
          <p:nvPr>
            <p:ph type="body" sz="quarter" idx="25"/>
          </p:nvPr>
        </p:nvSpPr>
        <p:spPr>
          <a:xfrm>
            <a:off x="11025069" y="1870076"/>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Tree>
    <p:extLst>
      <p:ext uri="{BB962C8B-B14F-4D97-AF65-F5344CB8AC3E}">
        <p14:creationId xmlns:p14="http://schemas.microsoft.com/office/powerpoint/2010/main" val="1393044803"/>
      </p:ext>
    </p:extLst>
  </p:cSld>
  <p:clrMapOvr>
    <a:masterClrMapping/>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graphicFrame>
        <p:nvGraphicFramePr>
          <p:cNvPr id="33" name="Chart 32">
            <a:extLst>
              <a:ext uri="{FF2B5EF4-FFF2-40B4-BE49-F238E27FC236}">
                <a16:creationId xmlns:a16="http://schemas.microsoft.com/office/drawing/2014/main" id="{D025E7FA-298A-CD45-B1DA-D620F2482A58}"/>
              </a:ext>
            </a:extLst>
          </p:cNvPr>
          <p:cNvGraphicFramePr/>
          <p:nvPr userDrawn="1">
            <p:extLst>
              <p:ext uri="{D42A27DB-BD31-4B8C-83A1-F6EECF244321}">
                <p14:modId xmlns:p14="http://schemas.microsoft.com/office/powerpoint/2010/main" val="2252200674"/>
              </p:ext>
            </p:extLst>
          </p:nvPr>
        </p:nvGraphicFramePr>
        <p:xfrm>
          <a:off x="15557873" y="4888978"/>
          <a:ext cx="3678955" cy="1989156"/>
        </p:xfrm>
        <a:graphic>
          <a:graphicData uri="http://schemas.openxmlformats.org/drawingml/2006/chart">
            <c:chart xmlns:c="http://schemas.openxmlformats.org/drawingml/2006/chart" xmlns:r="http://schemas.openxmlformats.org/officeDocument/2006/relationships" r:id="rId2"/>
          </a:graphicData>
        </a:graphic>
      </p:graphicFrame>
      <p:sp>
        <p:nvSpPr>
          <p:cNvPr id="37" name="Slide Number Placeholder 5">
            <a:extLst>
              <a:ext uri="{FF2B5EF4-FFF2-40B4-BE49-F238E27FC236}">
                <a16:creationId xmlns:a16="http://schemas.microsoft.com/office/drawing/2014/main" id="{29B4D95D-D7E1-344B-B5F5-F2BE79D2A182}"/>
              </a:ext>
            </a:extLst>
          </p:cNvPr>
          <p:cNvSpPr txBox="1">
            <a:spLocks/>
          </p:cNvSpPr>
          <p:nvPr userDrawn="1"/>
        </p:nvSpPr>
        <p:spPr>
          <a:xfrm>
            <a:off x="29834492"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FF0000"/>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mtClean="0">
                <a:solidFill>
                  <a:srgbClr val="C8102E"/>
                </a:solidFill>
              </a:rPr>
              <a:pPr/>
              <a:t>‹#›</a:t>
            </a:fld>
            <a:endParaRPr lang="en-US" dirty="0">
              <a:solidFill>
                <a:srgbClr val="C8102E"/>
              </a:solidFill>
            </a:endParaRPr>
          </a:p>
        </p:txBody>
      </p:sp>
      <p:sp>
        <p:nvSpPr>
          <p:cNvPr id="125" name="Text Placeholder 3">
            <a:extLst>
              <a:ext uri="{FF2B5EF4-FFF2-40B4-BE49-F238E27FC236}">
                <a16:creationId xmlns:a16="http://schemas.microsoft.com/office/drawing/2014/main" id="{2370FFBE-37A2-9640-8C17-39BD2F6534B6}"/>
              </a:ext>
            </a:extLst>
          </p:cNvPr>
          <p:cNvSpPr>
            <a:spLocks noGrp="1"/>
          </p:cNvSpPr>
          <p:nvPr>
            <p:ph type="body" sz="quarter" idx="22"/>
          </p:nvPr>
        </p:nvSpPr>
        <p:spPr>
          <a:xfrm>
            <a:off x="702748" y="1687959"/>
            <a:ext cx="2982913" cy="445388"/>
          </a:xfrm>
        </p:spPr>
        <p:txBody>
          <a:bodyPr/>
          <a:lstStyle>
            <a:lvl1pPr marL="0" indent="0">
              <a:buNone/>
              <a:defRPr sz="2400" b="1"/>
            </a:lvl1pPr>
          </a:lstStyle>
          <a:p>
            <a:pPr lvl="0"/>
            <a:r>
              <a:rPr lang="en-US"/>
              <a:t>Click to edit</a:t>
            </a:r>
          </a:p>
        </p:txBody>
      </p:sp>
      <p:sp>
        <p:nvSpPr>
          <p:cNvPr id="126" name="Text Placeholder 3">
            <a:extLst>
              <a:ext uri="{FF2B5EF4-FFF2-40B4-BE49-F238E27FC236}">
                <a16:creationId xmlns:a16="http://schemas.microsoft.com/office/drawing/2014/main" id="{F379177C-F1E5-E449-AB33-128B2D474506}"/>
              </a:ext>
            </a:extLst>
          </p:cNvPr>
          <p:cNvSpPr>
            <a:spLocks noGrp="1"/>
          </p:cNvSpPr>
          <p:nvPr>
            <p:ph type="body" sz="quarter" idx="23"/>
          </p:nvPr>
        </p:nvSpPr>
        <p:spPr>
          <a:xfrm>
            <a:off x="7702231" y="1687959"/>
            <a:ext cx="2982913" cy="434094"/>
          </a:xfrm>
        </p:spPr>
        <p:txBody>
          <a:bodyPr/>
          <a:lstStyle>
            <a:lvl1pPr marL="0" indent="0">
              <a:buNone/>
              <a:defRPr sz="2400" b="1"/>
            </a:lvl1pPr>
          </a:lstStyle>
          <a:p>
            <a:pPr lvl="0"/>
            <a:r>
              <a:rPr lang="en-US"/>
              <a:t>Click to edit</a:t>
            </a:r>
          </a:p>
        </p:txBody>
      </p:sp>
      <p:sp>
        <p:nvSpPr>
          <p:cNvPr id="127" name="Text Placeholder 3">
            <a:extLst>
              <a:ext uri="{FF2B5EF4-FFF2-40B4-BE49-F238E27FC236}">
                <a16:creationId xmlns:a16="http://schemas.microsoft.com/office/drawing/2014/main" id="{16E05738-1488-2C4B-8A43-8A38F6F540A1}"/>
              </a:ext>
            </a:extLst>
          </p:cNvPr>
          <p:cNvSpPr>
            <a:spLocks noGrp="1"/>
          </p:cNvSpPr>
          <p:nvPr>
            <p:ph type="body" sz="quarter" idx="24"/>
          </p:nvPr>
        </p:nvSpPr>
        <p:spPr>
          <a:xfrm>
            <a:off x="702748" y="2192060"/>
            <a:ext cx="6171296" cy="667748"/>
          </a:xfrm>
        </p:spPr>
        <p:txBody>
          <a:bodyPr/>
          <a:lstStyle>
            <a:lvl1pPr marL="0" indent="0">
              <a:buNone/>
              <a:defRPr sz="1800" b="0"/>
            </a:lvl1pPr>
          </a:lstStyle>
          <a:p>
            <a:pPr lvl="0"/>
            <a:r>
              <a:rPr lang="en-US"/>
              <a:t>Click to edit</a:t>
            </a:r>
          </a:p>
        </p:txBody>
      </p:sp>
      <p:sp>
        <p:nvSpPr>
          <p:cNvPr id="128" name="Text Placeholder 3">
            <a:extLst>
              <a:ext uri="{FF2B5EF4-FFF2-40B4-BE49-F238E27FC236}">
                <a16:creationId xmlns:a16="http://schemas.microsoft.com/office/drawing/2014/main" id="{E8025EBA-5D54-9D4D-A468-CDB58384101B}"/>
              </a:ext>
            </a:extLst>
          </p:cNvPr>
          <p:cNvSpPr>
            <a:spLocks noGrp="1"/>
          </p:cNvSpPr>
          <p:nvPr>
            <p:ph type="body" sz="quarter" idx="25"/>
          </p:nvPr>
        </p:nvSpPr>
        <p:spPr>
          <a:xfrm>
            <a:off x="7702231" y="2192060"/>
            <a:ext cx="6171289" cy="667748"/>
          </a:xfrm>
        </p:spPr>
        <p:txBody>
          <a:bodyPr/>
          <a:lstStyle>
            <a:lvl1pPr marL="0" indent="0">
              <a:buNone/>
              <a:defRPr sz="1800" b="0"/>
            </a:lvl1pPr>
          </a:lstStyle>
          <a:p>
            <a:pPr lvl="0"/>
            <a:r>
              <a:rPr lang="en-US"/>
              <a:t>Click to edit</a:t>
            </a:r>
          </a:p>
        </p:txBody>
      </p:sp>
      <p:sp>
        <p:nvSpPr>
          <p:cNvPr id="129" name="Text Placeholder 3">
            <a:extLst>
              <a:ext uri="{FF2B5EF4-FFF2-40B4-BE49-F238E27FC236}">
                <a16:creationId xmlns:a16="http://schemas.microsoft.com/office/drawing/2014/main" id="{A8421254-0C37-1340-A955-658F91F3D6CF}"/>
              </a:ext>
            </a:extLst>
          </p:cNvPr>
          <p:cNvSpPr>
            <a:spLocks noGrp="1"/>
          </p:cNvSpPr>
          <p:nvPr>
            <p:ph type="body" sz="quarter" idx="26"/>
          </p:nvPr>
        </p:nvSpPr>
        <p:spPr>
          <a:xfrm>
            <a:off x="7702231" y="3732102"/>
            <a:ext cx="6171289" cy="667748"/>
          </a:xfrm>
        </p:spPr>
        <p:txBody>
          <a:bodyPr/>
          <a:lstStyle>
            <a:lvl1pPr marL="0" indent="0">
              <a:buNone/>
              <a:defRPr sz="1800" b="0"/>
            </a:lvl1pPr>
          </a:lstStyle>
          <a:p>
            <a:pPr lvl="0"/>
            <a:r>
              <a:rPr lang="en-US"/>
              <a:t>Click to edit</a:t>
            </a:r>
          </a:p>
        </p:txBody>
      </p:sp>
      <p:sp>
        <p:nvSpPr>
          <p:cNvPr id="130" name="Text Placeholder 3">
            <a:extLst>
              <a:ext uri="{FF2B5EF4-FFF2-40B4-BE49-F238E27FC236}">
                <a16:creationId xmlns:a16="http://schemas.microsoft.com/office/drawing/2014/main" id="{B6CFDC65-8D2B-1B44-AF80-E7289A82E8B0}"/>
              </a:ext>
            </a:extLst>
          </p:cNvPr>
          <p:cNvSpPr>
            <a:spLocks noGrp="1"/>
          </p:cNvSpPr>
          <p:nvPr>
            <p:ph type="body" sz="quarter" idx="27"/>
          </p:nvPr>
        </p:nvSpPr>
        <p:spPr>
          <a:xfrm>
            <a:off x="702748" y="3756165"/>
            <a:ext cx="6171296" cy="667748"/>
          </a:xfrm>
        </p:spPr>
        <p:txBody>
          <a:bodyPr/>
          <a:lstStyle>
            <a:lvl1pPr marL="0" indent="0">
              <a:buNone/>
              <a:defRPr sz="1800" b="0"/>
            </a:lvl1pPr>
          </a:lstStyle>
          <a:p>
            <a:pPr lvl="0"/>
            <a:r>
              <a:rPr lang="en-US"/>
              <a:t>Click to edit</a:t>
            </a:r>
          </a:p>
        </p:txBody>
      </p:sp>
      <p:sp>
        <p:nvSpPr>
          <p:cNvPr id="131" name="Text Placeholder 3">
            <a:extLst>
              <a:ext uri="{FF2B5EF4-FFF2-40B4-BE49-F238E27FC236}">
                <a16:creationId xmlns:a16="http://schemas.microsoft.com/office/drawing/2014/main" id="{F7EA9FAB-CB05-354A-92B0-151C3E246E00}"/>
              </a:ext>
            </a:extLst>
          </p:cNvPr>
          <p:cNvSpPr>
            <a:spLocks noGrp="1"/>
          </p:cNvSpPr>
          <p:nvPr>
            <p:ph type="body" sz="quarter" idx="28"/>
          </p:nvPr>
        </p:nvSpPr>
        <p:spPr>
          <a:xfrm>
            <a:off x="702748" y="3107684"/>
            <a:ext cx="2982913" cy="623563"/>
          </a:xfrm>
        </p:spPr>
        <p:txBody>
          <a:bodyPr/>
          <a:lstStyle>
            <a:lvl1pPr marL="0" indent="0">
              <a:buNone/>
              <a:defRPr sz="3600" b="1">
                <a:solidFill>
                  <a:srgbClr val="C8102E"/>
                </a:solidFill>
              </a:defRPr>
            </a:lvl1pPr>
          </a:lstStyle>
          <a:p>
            <a:pPr lvl="0"/>
            <a:r>
              <a:rPr lang="en-US"/>
              <a:t>Click to edit</a:t>
            </a:r>
          </a:p>
        </p:txBody>
      </p:sp>
      <p:sp>
        <p:nvSpPr>
          <p:cNvPr id="132" name="Text Placeholder 3">
            <a:extLst>
              <a:ext uri="{FF2B5EF4-FFF2-40B4-BE49-F238E27FC236}">
                <a16:creationId xmlns:a16="http://schemas.microsoft.com/office/drawing/2014/main" id="{645A9CA8-A3F7-B042-94B5-20E5D5443E68}"/>
              </a:ext>
            </a:extLst>
          </p:cNvPr>
          <p:cNvSpPr>
            <a:spLocks noGrp="1"/>
          </p:cNvSpPr>
          <p:nvPr>
            <p:ph type="body" sz="quarter" idx="29"/>
          </p:nvPr>
        </p:nvSpPr>
        <p:spPr>
          <a:xfrm>
            <a:off x="7704708" y="3107684"/>
            <a:ext cx="2982913" cy="623563"/>
          </a:xfrm>
        </p:spPr>
        <p:txBody>
          <a:bodyPr/>
          <a:lstStyle>
            <a:lvl1pPr marL="0" indent="0">
              <a:buNone/>
              <a:defRPr sz="3600" b="1">
                <a:solidFill>
                  <a:srgbClr val="000099"/>
                </a:solidFill>
              </a:defRPr>
            </a:lvl1pPr>
          </a:lstStyle>
          <a:p>
            <a:pPr lvl="0"/>
            <a:r>
              <a:rPr lang="en-US"/>
              <a:t>Click to edit</a:t>
            </a:r>
          </a:p>
        </p:txBody>
      </p:sp>
      <p:sp>
        <p:nvSpPr>
          <p:cNvPr id="133" name="Text Placeholder 3">
            <a:extLst>
              <a:ext uri="{FF2B5EF4-FFF2-40B4-BE49-F238E27FC236}">
                <a16:creationId xmlns:a16="http://schemas.microsoft.com/office/drawing/2014/main" id="{FA6865A7-8B86-CC46-8E6C-77BFB9DA56F4}"/>
              </a:ext>
            </a:extLst>
          </p:cNvPr>
          <p:cNvSpPr>
            <a:spLocks noGrp="1"/>
          </p:cNvSpPr>
          <p:nvPr>
            <p:ph type="body" sz="quarter" idx="30"/>
          </p:nvPr>
        </p:nvSpPr>
        <p:spPr>
          <a:xfrm>
            <a:off x="4461003" y="4747882"/>
            <a:ext cx="2565441" cy="478185"/>
          </a:xfrm>
        </p:spPr>
        <p:txBody>
          <a:bodyPr/>
          <a:lstStyle>
            <a:lvl1pPr marL="0" indent="0">
              <a:buNone/>
              <a:defRPr sz="2400" b="1"/>
            </a:lvl1pPr>
          </a:lstStyle>
          <a:p>
            <a:pPr lvl="0"/>
            <a:r>
              <a:rPr lang="en-US"/>
              <a:t>Click to edit</a:t>
            </a:r>
          </a:p>
        </p:txBody>
      </p:sp>
      <p:sp>
        <p:nvSpPr>
          <p:cNvPr id="134" name="Text Placeholder 3">
            <a:extLst>
              <a:ext uri="{FF2B5EF4-FFF2-40B4-BE49-F238E27FC236}">
                <a16:creationId xmlns:a16="http://schemas.microsoft.com/office/drawing/2014/main" id="{0A2E19B2-26BC-E24B-B176-0B3724CED714}"/>
              </a:ext>
            </a:extLst>
          </p:cNvPr>
          <p:cNvSpPr>
            <a:spLocks noGrp="1"/>
          </p:cNvSpPr>
          <p:nvPr>
            <p:ph type="body" sz="quarter" idx="31"/>
          </p:nvPr>
        </p:nvSpPr>
        <p:spPr>
          <a:xfrm>
            <a:off x="11358520" y="4747882"/>
            <a:ext cx="2565441" cy="478185"/>
          </a:xfrm>
        </p:spPr>
        <p:txBody>
          <a:bodyPr/>
          <a:lstStyle>
            <a:lvl1pPr marL="0" indent="0">
              <a:buNone/>
              <a:defRPr sz="2400" b="1"/>
            </a:lvl1pPr>
          </a:lstStyle>
          <a:p>
            <a:pPr lvl="0"/>
            <a:r>
              <a:rPr lang="en-US"/>
              <a:t>Click to edit</a:t>
            </a:r>
          </a:p>
        </p:txBody>
      </p:sp>
      <p:sp>
        <p:nvSpPr>
          <p:cNvPr id="135" name="Text Placeholder 3">
            <a:extLst>
              <a:ext uri="{FF2B5EF4-FFF2-40B4-BE49-F238E27FC236}">
                <a16:creationId xmlns:a16="http://schemas.microsoft.com/office/drawing/2014/main" id="{ED4F9BBA-DC29-EB43-8720-94418E10EE8F}"/>
              </a:ext>
            </a:extLst>
          </p:cNvPr>
          <p:cNvSpPr>
            <a:spLocks noGrp="1"/>
          </p:cNvSpPr>
          <p:nvPr>
            <p:ph type="body" sz="quarter" idx="32"/>
          </p:nvPr>
        </p:nvSpPr>
        <p:spPr>
          <a:xfrm>
            <a:off x="11358521" y="5378467"/>
            <a:ext cx="2565440" cy="1401834"/>
          </a:xfrm>
        </p:spPr>
        <p:txBody>
          <a:bodyPr/>
          <a:lstStyle>
            <a:lvl1pPr marL="237744" indent="-237744">
              <a:spcBef>
                <a:spcPts val="960"/>
              </a:spcBef>
              <a:buFont typeface="Arial" panose="020B0604020202020204" pitchFamily="34" charset="0"/>
              <a:buChar char="•"/>
              <a:defRPr sz="1800" b="0"/>
            </a:lvl1pPr>
          </a:lstStyle>
          <a:p>
            <a:pPr lvl="0"/>
            <a:r>
              <a:rPr lang="en-US"/>
              <a:t>Click to edit</a:t>
            </a:r>
          </a:p>
        </p:txBody>
      </p:sp>
      <p:sp>
        <p:nvSpPr>
          <p:cNvPr id="136" name="Text Placeholder 3">
            <a:extLst>
              <a:ext uri="{FF2B5EF4-FFF2-40B4-BE49-F238E27FC236}">
                <a16:creationId xmlns:a16="http://schemas.microsoft.com/office/drawing/2014/main" id="{7B8A0F17-F2BD-394C-92FC-2DBDFCA33016}"/>
              </a:ext>
            </a:extLst>
          </p:cNvPr>
          <p:cNvSpPr>
            <a:spLocks noGrp="1"/>
          </p:cNvSpPr>
          <p:nvPr>
            <p:ph type="body" sz="quarter" idx="33"/>
          </p:nvPr>
        </p:nvSpPr>
        <p:spPr>
          <a:xfrm>
            <a:off x="4461004" y="5378467"/>
            <a:ext cx="2565440" cy="1401834"/>
          </a:xfrm>
        </p:spPr>
        <p:txBody>
          <a:bodyPr/>
          <a:lstStyle>
            <a:lvl1pPr marL="237744" indent="-237744">
              <a:spcBef>
                <a:spcPts val="960"/>
              </a:spcBef>
              <a:buFont typeface="Arial" panose="020B0604020202020204" pitchFamily="34" charset="0"/>
              <a:buChar char="•"/>
              <a:defRPr sz="1800" b="0"/>
            </a:lvl1pPr>
          </a:lstStyle>
          <a:p>
            <a:pPr lvl="0"/>
            <a:r>
              <a:rPr lang="en-US"/>
              <a:t>Click to edit</a:t>
            </a:r>
          </a:p>
        </p:txBody>
      </p:sp>
      <p:sp>
        <p:nvSpPr>
          <p:cNvPr id="139" name="Text Placeholder 19">
            <a:extLst>
              <a:ext uri="{FF2B5EF4-FFF2-40B4-BE49-F238E27FC236}">
                <a16:creationId xmlns:a16="http://schemas.microsoft.com/office/drawing/2014/main" id="{AB62CD71-349B-B24A-A648-B473B71EBA08}"/>
              </a:ext>
            </a:extLst>
          </p:cNvPr>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40" name="Text Placeholder 3">
            <a:extLst>
              <a:ext uri="{FF2B5EF4-FFF2-40B4-BE49-F238E27FC236}">
                <a16:creationId xmlns:a16="http://schemas.microsoft.com/office/drawing/2014/main" id="{08B2C4DA-8D4A-044D-A18A-5259A6645CAD}"/>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45" name="Text Placeholder 3">
            <a:extLst>
              <a:ext uri="{FF2B5EF4-FFF2-40B4-BE49-F238E27FC236}">
                <a16:creationId xmlns:a16="http://schemas.microsoft.com/office/drawing/2014/main" id="{69F5B089-344B-D340-86E0-371125C2F054}"/>
              </a:ext>
            </a:extLst>
          </p:cNvPr>
          <p:cNvSpPr>
            <a:spLocks noGrp="1"/>
          </p:cNvSpPr>
          <p:nvPr>
            <p:ph type="body" sz="quarter" idx="34"/>
          </p:nvPr>
        </p:nvSpPr>
        <p:spPr>
          <a:xfrm>
            <a:off x="9395932" y="5378467"/>
            <a:ext cx="1726770" cy="1401834"/>
          </a:xfrm>
        </p:spPr>
        <p:txBody>
          <a:bodyPr/>
          <a:lstStyle>
            <a:lvl1pPr marL="0" indent="0">
              <a:buFont typeface="Arial" panose="020B0604020202020204" pitchFamily="34" charset="0"/>
              <a:buNone/>
              <a:defRPr sz="1800" b="0"/>
            </a:lvl1pPr>
          </a:lstStyle>
          <a:p>
            <a:pPr lvl="0"/>
            <a:r>
              <a:rPr lang="en-US"/>
              <a:t>Click to edit</a:t>
            </a:r>
          </a:p>
        </p:txBody>
      </p:sp>
      <p:sp>
        <p:nvSpPr>
          <p:cNvPr id="147" name="Text Placeholder 3">
            <a:extLst>
              <a:ext uri="{FF2B5EF4-FFF2-40B4-BE49-F238E27FC236}">
                <a16:creationId xmlns:a16="http://schemas.microsoft.com/office/drawing/2014/main" id="{4E273F30-D965-9848-9A7C-C3F20398BD9D}"/>
              </a:ext>
            </a:extLst>
          </p:cNvPr>
          <p:cNvSpPr>
            <a:spLocks noGrp="1"/>
          </p:cNvSpPr>
          <p:nvPr>
            <p:ph type="body" sz="quarter" idx="36" hasCustomPrompt="1"/>
          </p:nvPr>
        </p:nvSpPr>
        <p:spPr>
          <a:xfrm>
            <a:off x="9395933" y="4678451"/>
            <a:ext cx="1726769" cy="623563"/>
          </a:xfrm>
        </p:spPr>
        <p:txBody>
          <a:bodyPr/>
          <a:lstStyle>
            <a:lvl1pPr marL="0" indent="0">
              <a:buNone/>
              <a:defRPr sz="4400" b="1">
                <a:solidFill>
                  <a:srgbClr val="000099"/>
                </a:solidFill>
              </a:defRPr>
            </a:lvl1pPr>
          </a:lstStyle>
          <a:p>
            <a:pPr lvl="0"/>
            <a:r>
              <a:rPr lang="en-US"/>
              <a:t>edit</a:t>
            </a:r>
          </a:p>
        </p:txBody>
      </p:sp>
      <p:sp>
        <p:nvSpPr>
          <p:cNvPr id="25" name="Slide Number Placeholder 5">
            <a:extLst>
              <a:ext uri="{FF2B5EF4-FFF2-40B4-BE49-F238E27FC236}">
                <a16:creationId xmlns:a16="http://schemas.microsoft.com/office/drawing/2014/main" id="{05DEF135-9169-A349-9501-72BA8764E9DA}"/>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4" name="Text Placeholder 3">
            <a:extLst>
              <a:ext uri="{FF2B5EF4-FFF2-40B4-BE49-F238E27FC236}">
                <a16:creationId xmlns:a16="http://schemas.microsoft.com/office/drawing/2014/main" id="{7F9474BB-DCE7-4B4C-AE76-9482A8AE0480}"/>
              </a:ext>
            </a:extLst>
          </p:cNvPr>
          <p:cNvSpPr>
            <a:spLocks noGrp="1"/>
          </p:cNvSpPr>
          <p:nvPr>
            <p:ph type="body" sz="quarter" idx="37"/>
          </p:nvPr>
        </p:nvSpPr>
        <p:spPr>
          <a:xfrm>
            <a:off x="2560417" y="5378467"/>
            <a:ext cx="1694747" cy="1401834"/>
          </a:xfrm>
        </p:spPr>
        <p:txBody>
          <a:bodyPr/>
          <a:lstStyle>
            <a:lvl1pPr marL="0" indent="0">
              <a:buFont typeface="Arial" panose="020B0604020202020204" pitchFamily="34" charset="0"/>
              <a:buNone/>
              <a:defRPr sz="1800" b="0"/>
            </a:lvl1pPr>
          </a:lstStyle>
          <a:p>
            <a:pPr lvl="0"/>
            <a:r>
              <a:rPr lang="en-US"/>
              <a:t>Click to edit</a:t>
            </a:r>
          </a:p>
        </p:txBody>
      </p:sp>
      <p:sp>
        <p:nvSpPr>
          <p:cNvPr id="26" name="Text Placeholder 3">
            <a:extLst>
              <a:ext uri="{FF2B5EF4-FFF2-40B4-BE49-F238E27FC236}">
                <a16:creationId xmlns:a16="http://schemas.microsoft.com/office/drawing/2014/main" id="{D197E88C-0BB2-C64B-90C6-7FEB4CEAAAA6}"/>
              </a:ext>
            </a:extLst>
          </p:cNvPr>
          <p:cNvSpPr>
            <a:spLocks noGrp="1"/>
          </p:cNvSpPr>
          <p:nvPr>
            <p:ph type="body" sz="quarter" idx="38" hasCustomPrompt="1"/>
          </p:nvPr>
        </p:nvSpPr>
        <p:spPr>
          <a:xfrm>
            <a:off x="2560419" y="4678451"/>
            <a:ext cx="1694746" cy="623563"/>
          </a:xfrm>
        </p:spPr>
        <p:txBody>
          <a:bodyPr/>
          <a:lstStyle>
            <a:lvl1pPr marL="0" indent="0">
              <a:buNone/>
              <a:defRPr sz="4400" b="1">
                <a:solidFill>
                  <a:srgbClr val="C8102E"/>
                </a:solidFill>
              </a:defRPr>
            </a:lvl1pPr>
          </a:lstStyle>
          <a:p>
            <a:pPr lvl="0"/>
            <a:r>
              <a:rPr lang="en-US"/>
              <a:t>edit</a:t>
            </a:r>
          </a:p>
        </p:txBody>
      </p:sp>
    </p:spTree>
    <p:extLst>
      <p:ext uri="{BB962C8B-B14F-4D97-AF65-F5344CB8AC3E}">
        <p14:creationId xmlns:p14="http://schemas.microsoft.com/office/powerpoint/2010/main" val="2366971085"/>
      </p:ext>
    </p:extLst>
  </p:cSld>
  <p:clrMapOvr>
    <a:masterClrMapping/>
  </p:clrMapOvr>
  <p:transition>
    <p:fade/>
  </p:transition>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55497"/>
            <a:ext cx="4211320" cy="5003610"/>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055497"/>
            <a:ext cx="4211320" cy="5003610"/>
          </a:xfrm>
          <a:noFill/>
        </p:spPr>
        <p:txBody>
          <a:bodyPr anchor="t"/>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055497"/>
            <a:ext cx="4211320" cy="5003610"/>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438EE667-2F4C-514E-9DE6-F69F8D6309A2}"/>
              </a:ext>
            </a:extLst>
          </p:cNvPr>
          <p:cNvSpPr>
            <a:spLocks noGrp="1"/>
          </p:cNvSpPr>
          <p:nvPr>
            <p:ph type="body" sz="quarter" idx="21"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2BBFA237-3D8D-F54C-9FB5-A168612D87BE}"/>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3513513904"/>
      </p:ext>
    </p:extLst>
  </p:cSld>
  <p:clrMapOvr>
    <a:masterClrMapping/>
  </p:clrMapOvr>
  <p:transition>
    <p:fade/>
  </p:transition>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 columns 1x3 wht">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92554"/>
            <a:ext cx="4211320" cy="2798832"/>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092555"/>
            <a:ext cx="4211320" cy="2798831"/>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092554"/>
            <a:ext cx="4211320" cy="2798832"/>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D16FFE8E-339D-0F4B-9419-5DB052A78E3B}"/>
              </a:ext>
            </a:extLst>
          </p:cNvPr>
          <p:cNvSpPr>
            <a:spLocks noGrp="1"/>
          </p:cNvSpPr>
          <p:nvPr>
            <p:ph type="body" sz="quarter" idx="21"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00000"/>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321AC04F-7228-2D40-90FB-B273CB8C5AB6}"/>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
        <p:nvSpPr>
          <p:cNvPr id="3" name="Text Placeholder 2">
            <a:extLst>
              <a:ext uri="{FF2B5EF4-FFF2-40B4-BE49-F238E27FC236}">
                <a16:creationId xmlns:a16="http://schemas.microsoft.com/office/drawing/2014/main" id="{340B2714-83A7-BB46-9D36-05FB92B16BBF}"/>
              </a:ext>
            </a:extLst>
          </p:cNvPr>
          <p:cNvSpPr>
            <a:spLocks noGrp="1"/>
          </p:cNvSpPr>
          <p:nvPr>
            <p:ph type="body" sz="quarter" idx="22"/>
          </p:nvPr>
        </p:nvSpPr>
        <p:spPr>
          <a:xfrm>
            <a:off x="720725"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C6F4DF9C-6A5A-5141-A4C8-0DF45E3D9E10}"/>
              </a:ext>
            </a:extLst>
          </p:cNvPr>
          <p:cNvSpPr>
            <a:spLocks noGrp="1"/>
          </p:cNvSpPr>
          <p:nvPr>
            <p:ph type="body" sz="quarter" idx="23"/>
          </p:nvPr>
        </p:nvSpPr>
        <p:spPr>
          <a:xfrm>
            <a:off x="5192712"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7BCD16B9-CCE5-5F41-B9C5-5E81442329C0}"/>
              </a:ext>
            </a:extLst>
          </p:cNvPr>
          <p:cNvSpPr>
            <a:spLocks noGrp="1"/>
          </p:cNvSpPr>
          <p:nvPr>
            <p:ph type="body" sz="quarter" idx="24"/>
          </p:nvPr>
        </p:nvSpPr>
        <p:spPr>
          <a:xfrm>
            <a:off x="9650412" y="5083861"/>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78729290"/>
      </p:ext>
    </p:extLst>
  </p:cSld>
  <p:clrMapOvr>
    <a:masterClrMapping/>
  </p:clrMapOvr>
  <p:transition>
    <p:fade/>
  </p:transition>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661049"/>
            <a:ext cx="4211320" cy="4398058"/>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661049"/>
            <a:ext cx="4211320" cy="4398058"/>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661049"/>
            <a:ext cx="4211320" cy="4398058"/>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725701" y="2016993"/>
            <a:ext cx="4209839" cy="520700"/>
          </a:xfrm>
          <a:solidFill>
            <a:srgbClr val="FFFFFF"/>
          </a:solidFill>
        </p:spPr>
        <p:txBody>
          <a:bodyPr anchor="ctr"/>
          <a:lstStyle>
            <a:lvl1pPr marL="109534" indent="0">
              <a:buNone/>
              <a:defRPr sz="2000" b="1">
                <a:solidFill>
                  <a:schemeClr val="accent3"/>
                </a:solidFill>
              </a:defRPr>
            </a:lvl1pPr>
          </a:lstStyle>
          <a:p>
            <a:pPr lvl="0"/>
            <a:r>
              <a:rPr lang="en-US"/>
              <a:t>Edit Master text styles</a:t>
            </a:r>
          </a:p>
        </p:txBody>
      </p:sp>
      <p:sp>
        <p:nvSpPr>
          <p:cNvPr id="19" name="Text Placeholder 8"/>
          <p:cNvSpPr>
            <a:spLocks noGrp="1"/>
          </p:cNvSpPr>
          <p:nvPr>
            <p:ph type="body" sz="quarter" idx="23"/>
          </p:nvPr>
        </p:nvSpPr>
        <p:spPr>
          <a:xfrm>
            <a:off x="5212941" y="2016993"/>
            <a:ext cx="4209839" cy="520700"/>
          </a:xfrm>
          <a:solidFill>
            <a:srgbClr val="FFFFFF"/>
          </a:solidFill>
        </p:spPr>
        <p:txBody>
          <a:bodyPr anchor="ctr"/>
          <a:lstStyle>
            <a:lvl1pPr marL="109534" indent="0">
              <a:buNone/>
              <a:defRPr sz="2000" b="1">
                <a:solidFill>
                  <a:schemeClr val="accent2"/>
                </a:solidFill>
              </a:defRPr>
            </a:lvl1pPr>
          </a:lstStyle>
          <a:p>
            <a:pPr lvl="0"/>
            <a:r>
              <a:rPr lang="en-US"/>
              <a:t>Edit Master text styles</a:t>
            </a:r>
          </a:p>
        </p:txBody>
      </p:sp>
      <p:sp>
        <p:nvSpPr>
          <p:cNvPr id="20" name="Text Placeholder 8"/>
          <p:cNvSpPr>
            <a:spLocks noGrp="1"/>
          </p:cNvSpPr>
          <p:nvPr>
            <p:ph type="body" sz="quarter" idx="24"/>
          </p:nvPr>
        </p:nvSpPr>
        <p:spPr>
          <a:xfrm>
            <a:off x="9688087" y="2016993"/>
            <a:ext cx="4221150" cy="520700"/>
          </a:xfrm>
          <a:solidFill>
            <a:srgbClr val="FFFFFF"/>
          </a:solidFill>
        </p:spPr>
        <p:txBody>
          <a:bodyPr anchor="ctr"/>
          <a:lstStyle>
            <a:lvl1pPr marL="109534" indent="0">
              <a:buNone/>
              <a:defRPr sz="2000" b="1">
                <a:solidFill>
                  <a:schemeClr val="accent1"/>
                </a:solidFill>
              </a:defRPr>
            </a:lvl1pPr>
          </a:lstStyle>
          <a:p>
            <a:pPr lvl="0"/>
            <a:r>
              <a:rPr lang="en-US"/>
              <a:t>Edit Master text styles</a:t>
            </a:r>
          </a:p>
        </p:txBody>
      </p:sp>
      <p:sp>
        <p:nvSpPr>
          <p:cNvPr id="12" name="Text Placeholder 3">
            <a:extLst>
              <a:ext uri="{FF2B5EF4-FFF2-40B4-BE49-F238E27FC236}">
                <a16:creationId xmlns:a16="http://schemas.microsoft.com/office/drawing/2014/main" id="{A68BE73F-D78F-D444-9162-708CDF52072F}"/>
              </a:ext>
            </a:extLst>
          </p:cNvPr>
          <p:cNvSpPr>
            <a:spLocks noGrp="1"/>
          </p:cNvSpPr>
          <p:nvPr>
            <p:ph type="body" sz="quarter" idx="25" hasCustomPrompt="1"/>
          </p:nvPr>
        </p:nvSpPr>
        <p:spPr>
          <a:xfrm>
            <a:off x="7976383" y="7688965"/>
            <a:ext cx="5823659" cy="308708"/>
          </a:xfrm>
        </p:spPr>
        <p:txBody>
          <a:bodyPr/>
          <a:lstStyle>
            <a:lvl1pPr marL="0" indent="0" algn="r">
              <a:buNone/>
              <a:defRPr sz="900" b="1"/>
            </a:lvl1pPr>
          </a:lstStyle>
          <a:p>
            <a:pPr lvl="0"/>
            <a:r>
              <a:rPr lang="en-US"/>
              <a:t>OPTIONAL FUNCTION NAME</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Title 1">
            <a:extLst>
              <a:ext uri="{FF2B5EF4-FFF2-40B4-BE49-F238E27FC236}">
                <a16:creationId xmlns:a16="http://schemas.microsoft.com/office/drawing/2014/main" id="{DE085746-F358-8B48-B3DA-0AFACF75E822}"/>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2347477726"/>
      </p:ext>
    </p:extLst>
  </p:cSld>
  <p:clrMapOvr>
    <a:masterClrMapping/>
  </p:clrMapOvr>
  <p:transition>
    <p:fade/>
  </p:transition>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7126C82-A3F3-844B-84CD-4A0A0FE4F981}"/>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8" name="Slide Number Placeholder 5">
            <a:extLst>
              <a:ext uri="{FF2B5EF4-FFF2-40B4-BE49-F238E27FC236}">
                <a16:creationId xmlns:a16="http://schemas.microsoft.com/office/drawing/2014/main" id="{FD2FF53E-E76B-884D-AC96-1F41150C7D6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409262515"/>
      </p:ext>
    </p:extLst>
  </p:cSld>
  <p:clrMapOvr>
    <a:masterClrMapping/>
  </p:clrMapOvr>
  <p:transition>
    <p:fade/>
  </p:transition>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26441" y="6833477"/>
            <a:ext cx="13177520" cy="477916"/>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08" y="7266802"/>
            <a:ext cx="13177552" cy="276998"/>
          </a:xfrm>
        </p:spPr>
        <p:txBody>
          <a:bodyPr wrap="square" anchor="b" anchorCtr="0">
            <a:spAutoFit/>
          </a:bodyPr>
          <a:lstStyle>
            <a:lvl1pPr algn="l">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F50E040B-9C9D-1A47-973E-7DECBD6CA6D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Picture Placeholder 2">
            <a:extLst>
              <a:ext uri="{FF2B5EF4-FFF2-40B4-BE49-F238E27FC236}">
                <a16:creationId xmlns:a16="http://schemas.microsoft.com/office/drawing/2014/main" id="{A1177230-E7DB-E345-B033-4DBFCB7E1C3A}"/>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Tree>
    <p:extLst>
      <p:ext uri="{BB962C8B-B14F-4D97-AF65-F5344CB8AC3E}">
        <p14:creationId xmlns:p14="http://schemas.microsoft.com/office/powerpoint/2010/main" val="2123474510"/>
      </p:ext>
    </p:extLst>
  </p:cSld>
  <p:clrMapOvr>
    <a:masterClrMapping/>
  </p:clrMapOvr>
  <p:transition>
    <p:fade/>
  </p:transition>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2443BD8-D2F6-8646-B36D-61A3FE18C975}"/>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843631619"/>
      </p:ext>
    </p:extLst>
  </p:cSld>
  <p:clrMapOvr>
    <a:masterClrMapping/>
  </p:clrMapOvr>
  <p:transition>
    <p:fade/>
  </p:transition>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rgbClr val="C8102E"/>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766894889"/>
      </p:ext>
    </p:extLst>
  </p:cSld>
  <p:clrMapOvr>
    <a:masterClrMapping/>
  </p:clrMapOvr>
  <p:transition>
    <p:fade/>
  </p:transition>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430551102"/>
      </p:ext>
    </p:extLst>
  </p:cSld>
  <p:clrMapOvr>
    <a:masterClrMapping/>
  </p:clrMapOvr>
  <p:transition>
    <p:fade/>
  </p:transition>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2311942175"/>
      </p:ext>
    </p:extLst>
  </p:cSld>
  <p:clrMapOvr>
    <a:masterClrMapping/>
  </p:clrMapOvr>
  <p:transition>
    <p:fade/>
  </p:transition>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F5E5CDCA-7999-6A42-B665-EC2AAA7B46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1457" y="3656703"/>
            <a:ext cx="5063744" cy="926846"/>
          </a:xfrm>
          <a:prstGeom prst="rect">
            <a:avLst/>
          </a:prstGeom>
        </p:spPr>
      </p:pic>
    </p:spTree>
    <p:extLst>
      <p:ext uri="{BB962C8B-B14F-4D97-AF65-F5344CB8AC3E}">
        <p14:creationId xmlns:p14="http://schemas.microsoft.com/office/powerpoint/2010/main" val="1685978561"/>
      </p:ext>
    </p:extLst>
  </p:cSld>
  <p:clrMapOvr>
    <a:masterClrMapping/>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0"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7" name="Text Placeholder 3">
            <a:extLst>
              <a:ext uri="{FF2B5EF4-FFF2-40B4-BE49-F238E27FC236}">
                <a16:creationId xmlns:a16="http://schemas.microsoft.com/office/drawing/2014/main" id="{7EBCD416-E180-4844-AE7C-E86754B55E25}"/>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1"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1" y="454152"/>
            <a:ext cx="13177520" cy="692497"/>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pic>
        <p:nvPicPr>
          <p:cNvPr id="9" name="Picture 8" descr="A picture containing drawing&#10;&#10;Description automatically generated">
            <a:extLst>
              <a:ext uri="{FF2B5EF4-FFF2-40B4-BE49-F238E27FC236}">
                <a16:creationId xmlns:a16="http://schemas.microsoft.com/office/drawing/2014/main" id="{A5B1140B-7339-3D42-9484-8BA5899A940D}"/>
              </a:ext>
            </a:extLst>
          </p:cNvPr>
          <p:cNvPicPr>
            <a:picLocks noChangeAspect="1"/>
          </p:cNvPicPr>
          <p:nvPr userDrawn="1"/>
        </p:nvPicPr>
        <p:blipFill>
          <a:blip r:embed="rId2"/>
          <a:stretch>
            <a:fillRect/>
          </a:stretch>
        </p:blipFill>
        <p:spPr>
          <a:xfrm>
            <a:off x="12070992" y="7653650"/>
            <a:ext cx="1729048" cy="339160"/>
          </a:xfrm>
          <a:prstGeom prst="rect">
            <a:avLst/>
          </a:prstGeom>
        </p:spPr>
      </p:pic>
    </p:spTree>
    <p:extLst>
      <p:ext uri="{BB962C8B-B14F-4D97-AF65-F5344CB8AC3E}">
        <p14:creationId xmlns:p14="http://schemas.microsoft.com/office/powerpoint/2010/main" val="259045735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15568"/>
            <a:ext cx="13182600" cy="18466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7" name="Slide Number Placeholder 5"/>
          <p:cNvSpPr>
            <a:spLocks noGrp="1"/>
          </p:cNvSpPr>
          <p:nvPr>
            <p:ph type="sldNum" sz="quarter" idx="4"/>
          </p:nvPr>
        </p:nvSpPr>
        <p:spPr>
          <a:xfrm>
            <a:off x="13903962" y="7599544"/>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03873215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custDataLst>
              <p:tags r:id="rId1"/>
            </p:custDataLst>
          </p:nvPr>
        </p:nvSpPr>
        <p:spPr bwMode="auto">
          <a:xfrm>
            <a:off x="731520" y="187884"/>
            <a:ext cx="13578154"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a:t>Click to edit Master title style</a:t>
            </a:r>
          </a:p>
        </p:txBody>
      </p:sp>
    </p:spTree>
    <p:extLst>
      <p:ext uri="{BB962C8B-B14F-4D97-AF65-F5344CB8AC3E}">
        <p14:creationId xmlns:p14="http://schemas.microsoft.com/office/powerpoint/2010/main" val="36966177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49278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8865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341767" y="315204"/>
            <a:ext cx="11587343" cy="3141168"/>
          </a:xfrm>
        </p:spPr>
        <p:txBody>
          <a:bodyPr anchor="t"/>
          <a:lstStyle>
            <a:lvl1pPr algn="l">
              <a:lnSpc>
                <a:spcPct val="80000"/>
              </a:lnSpc>
              <a:defRPr sz="12600" b="0" i="0" spc="0" baseline="0">
                <a:solidFill>
                  <a:schemeClr val="bg1"/>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1" y="7071504"/>
            <a:ext cx="3354704" cy="860616"/>
          </a:xfrm>
        </p:spPr>
        <p:txBody>
          <a:bodyPr anchor="b"/>
          <a:lstStyle>
            <a:lvl1pPr marL="0" indent="0" algn="l">
              <a:lnSpc>
                <a:spcPct val="100000"/>
              </a:lnSpc>
              <a:spcBef>
                <a:spcPts val="0"/>
              </a:spcBef>
              <a:spcAft>
                <a:spcPts val="0"/>
              </a:spcAft>
              <a:buNone/>
              <a:defRPr sz="16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bg1"/>
                </a:solidFill>
              </a:defRPr>
            </a:lvl1pPr>
          </a:lstStyle>
          <a:p>
            <a:r>
              <a:rPr lang="en-GB"/>
              <a:t>Supporting details – delete if not required</a:t>
            </a:r>
          </a:p>
        </p:txBody>
      </p:sp>
      <p:sp>
        <p:nvSpPr>
          <p:cNvPr id="2" name="Graphic 2">
            <a:extLst>
              <a:ext uri="{FF2B5EF4-FFF2-40B4-BE49-F238E27FC236}">
                <a16:creationId xmlns:a16="http://schemas.microsoft.com/office/drawing/2014/main" id="{2E36CEA2-652F-75DC-D683-227EE3CCAC18}"/>
              </a:ext>
            </a:extLst>
          </p:cNvPr>
          <p:cNvSpPr>
            <a:spLocks noChangeAspect="1"/>
          </p:cNvSpPr>
          <p:nvPr/>
        </p:nvSpPr>
        <p:spPr>
          <a:xfrm>
            <a:off x="348616" y="7653424"/>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3811286550"/>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341767" y="313298"/>
            <a:ext cx="11587343" cy="3141168"/>
          </a:xfrm>
        </p:spPr>
        <p:txBody>
          <a:bodyPr anchor="t"/>
          <a:lstStyle>
            <a:lvl1pPr algn="l">
              <a:lnSpc>
                <a:spcPct val="80000"/>
              </a:lnSpc>
              <a:defRPr sz="12600" b="0" i="0" spc="0" baseline="0">
                <a:solidFill>
                  <a:schemeClr val="tx2"/>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1" y="7071504"/>
            <a:ext cx="3354704" cy="860616"/>
          </a:xfrm>
        </p:spPr>
        <p:txBody>
          <a:bodyPr anchor="b"/>
          <a:lstStyle>
            <a:lvl1pPr marL="0" indent="0" algn="l">
              <a:lnSpc>
                <a:spcPct val="100000"/>
              </a:lnSpc>
              <a:spcBef>
                <a:spcPts val="0"/>
              </a:spcBef>
              <a:spcAft>
                <a:spcPts val="0"/>
              </a:spcAft>
              <a:buNone/>
              <a:defRPr sz="1680">
                <a:solidFill>
                  <a:schemeClr val="tx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tx1"/>
                </a:solidFill>
              </a:defRPr>
            </a:lvl1pPr>
          </a:lstStyle>
          <a:p>
            <a:r>
              <a:rPr lang="en-GB"/>
              <a:t>Supporting details – delete if not required</a:t>
            </a:r>
          </a:p>
        </p:txBody>
      </p:sp>
      <p:sp>
        <p:nvSpPr>
          <p:cNvPr id="4" name="Graphic 2">
            <a:extLst>
              <a:ext uri="{FF2B5EF4-FFF2-40B4-BE49-F238E27FC236}">
                <a16:creationId xmlns:a16="http://schemas.microsoft.com/office/drawing/2014/main" id="{81BA223A-6973-8C60-D519-0AA8E983C929}"/>
              </a:ext>
            </a:extLst>
          </p:cNvPr>
          <p:cNvSpPr>
            <a:spLocks noChangeAspect="1"/>
          </p:cNvSpPr>
          <p:nvPr/>
        </p:nvSpPr>
        <p:spPr>
          <a:xfrm>
            <a:off x="348616" y="7653424"/>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tx2"/>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3843560875"/>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1E89327-3BBA-1507-2BFB-0E509816FBA8}"/>
              </a:ext>
            </a:extLst>
          </p:cNvPr>
          <p:cNvSpPr/>
          <p:nvPr/>
        </p:nvSpPr>
        <p:spPr>
          <a:xfrm>
            <a:off x="349912" y="337779"/>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t"/>
          <a:lstStyle/>
          <a:p>
            <a:endParaRPr lang="en-GB" sz="3600" b="0" i="0" dirty="0">
              <a:solidFill>
                <a:schemeClr val="bg1"/>
              </a:solidFill>
              <a:latin typeface="Johnson Text" pitchFamily="2" charset="77"/>
            </a:endParaRP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7399020" y="320346"/>
            <a:ext cx="6880860" cy="3102388"/>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1" y="7071504"/>
            <a:ext cx="3354704" cy="860616"/>
          </a:xfrm>
        </p:spPr>
        <p:txBody>
          <a:bodyPr anchor="b"/>
          <a:lstStyle>
            <a:lvl1pPr marL="0" indent="0" algn="l">
              <a:lnSpc>
                <a:spcPct val="100000"/>
              </a:lnSpc>
              <a:spcBef>
                <a:spcPts val="0"/>
              </a:spcBef>
              <a:spcAft>
                <a:spcPts val="0"/>
              </a:spcAft>
              <a:buNone/>
              <a:defRPr sz="16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bg1"/>
                </a:solidFill>
              </a:defRPr>
            </a:lvl1pPr>
          </a:lstStyle>
          <a:p>
            <a:r>
              <a:rPr lang="en-GB"/>
              <a:t>Supporting details – delete if not required</a:t>
            </a:r>
          </a:p>
        </p:txBody>
      </p:sp>
    </p:spTree>
    <p:extLst>
      <p:ext uri="{BB962C8B-B14F-4D97-AF65-F5344CB8AC3E}">
        <p14:creationId xmlns:p14="http://schemas.microsoft.com/office/powerpoint/2010/main" val="357153739"/>
      </p:ext>
    </p:extLst>
  </p:cSld>
  <p:clrMapOvr>
    <a:masterClrMapping/>
  </p:clrMapOvr>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itle Slide 2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3176" y="320346"/>
            <a:ext cx="6880860" cy="3102388"/>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3869332" y="5267326"/>
            <a:ext cx="3354704" cy="2664794"/>
          </a:xfrm>
        </p:spPr>
        <p:txBody>
          <a:bodyPr anchor="b"/>
          <a:lstStyle>
            <a:lvl1pPr>
              <a:lnSpc>
                <a:spcPct val="100000"/>
              </a:lnSpc>
              <a:spcBef>
                <a:spcPts val="0"/>
              </a:spcBef>
              <a:spcAft>
                <a:spcPts val="0"/>
              </a:spcAft>
              <a:defRPr sz="1680">
                <a:solidFill>
                  <a:schemeClr val="bg1"/>
                </a:solidFill>
              </a:defRPr>
            </a:lvl1pPr>
          </a:lstStyle>
          <a:p>
            <a:r>
              <a:rPr lang="en-GB"/>
              <a:t>Supporting details – delete if not required</a:t>
            </a:r>
          </a:p>
        </p:txBody>
      </p:sp>
      <p:sp>
        <p:nvSpPr>
          <p:cNvPr id="4" name="Picture Placeholder 3">
            <a:extLst>
              <a:ext uri="{FF2B5EF4-FFF2-40B4-BE49-F238E27FC236}">
                <a16:creationId xmlns:a16="http://schemas.microsoft.com/office/drawing/2014/main" id="{9E083875-577D-C85F-0FB1-123AA06C12E5}"/>
              </a:ext>
            </a:extLst>
          </p:cNvPr>
          <p:cNvSpPr>
            <a:spLocks noGrp="1"/>
          </p:cNvSpPr>
          <p:nvPr>
            <p:ph type="pic" sz="quarter" idx="11" hasCustomPrompt="1"/>
          </p:nvPr>
        </p:nvSpPr>
        <p:spPr>
          <a:xfrm>
            <a:off x="7874858" y="0"/>
            <a:ext cx="6755543" cy="8229600"/>
          </a:xfrm>
          <a:solidFill>
            <a:srgbClr val="F6F3F2"/>
          </a:solidFill>
        </p:spPr>
        <p:txBody>
          <a:bodyPr/>
          <a:lstStyle>
            <a:lvl1pPr>
              <a:defRPr lang="en-US"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Graphic 2">
            <a:extLst>
              <a:ext uri="{FF2B5EF4-FFF2-40B4-BE49-F238E27FC236}">
                <a16:creationId xmlns:a16="http://schemas.microsoft.com/office/drawing/2014/main" id="{2F7807F1-53C0-9778-02CC-E8554C5CE97D}"/>
              </a:ext>
            </a:extLst>
          </p:cNvPr>
          <p:cNvSpPr>
            <a:spLocks noChangeAspect="1"/>
          </p:cNvSpPr>
          <p:nvPr/>
        </p:nvSpPr>
        <p:spPr>
          <a:xfrm>
            <a:off x="348616" y="7653424"/>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1176443863"/>
      </p:ext>
    </p:extLst>
  </p:cSld>
  <p:clrMapOvr>
    <a:masterClrMapping/>
  </p:clrMapOvr>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349775" y="317093"/>
            <a:ext cx="5600860" cy="392416"/>
          </a:xfrm>
        </p:spPr>
        <p:txBody>
          <a:bodyPr>
            <a:spAutoFit/>
          </a:bodyPr>
          <a:lstStyle>
            <a:lvl1pPr>
              <a:defRPr sz="3000" b="0" i="0">
                <a:solidFill>
                  <a:schemeClr val="bg1"/>
                </a:solidFill>
                <a:latin typeface="+mj-lt"/>
              </a:defRPr>
            </a:lvl1pPr>
          </a:lstStyle>
          <a:p>
            <a:r>
              <a:rPr lang="en-US"/>
              <a:t>Click to edit Master title style</a:t>
            </a:r>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7399021" y="288248"/>
            <a:ext cx="3354704" cy="860616"/>
          </a:xfrm>
        </p:spPr>
        <p:txBody>
          <a:bodyPr anchor="t"/>
          <a:lstStyle>
            <a:lvl1pPr marL="0" indent="0" algn="l">
              <a:spcBef>
                <a:spcPts val="0"/>
              </a:spcBef>
              <a:spcAft>
                <a:spcPts val="0"/>
              </a:spcAft>
              <a:buNone/>
              <a:defRPr sz="16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GB"/>
              <a:t>Supporting details – delete if not required</a:t>
            </a:r>
          </a:p>
        </p:txBody>
      </p:sp>
      <p:sp>
        <p:nvSpPr>
          <p:cNvPr id="32" name="Text Placeholder 31">
            <a:extLst>
              <a:ext uri="{FF2B5EF4-FFF2-40B4-BE49-F238E27FC236}">
                <a16:creationId xmlns:a16="http://schemas.microsoft.com/office/drawing/2014/main" id="{BE8CDE24-BE6D-421C-9ED6-9443D70EB983}"/>
              </a:ext>
            </a:extLst>
          </p:cNvPr>
          <p:cNvSpPr>
            <a:spLocks noGrp="1"/>
          </p:cNvSpPr>
          <p:nvPr>
            <p:ph type="body" sz="quarter" idx="10" hasCustomPrompt="1"/>
          </p:nvPr>
        </p:nvSpPr>
        <p:spPr>
          <a:xfrm>
            <a:off x="10925176" y="288248"/>
            <a:ext cx="3354704" cy="860616"/>
          </a:xfrm>
        </p:spPr>
        <p:txBody>
          <a:bodyPr anchor="t"/>
          <a:lstStyle>
            <a:lvl1pPr>
              <a:spcBef>
                <a:spcPts val="0"/>
              </a:spcBef>
              <a:spcAft>
                <a:spcPts val="0"/>
              </a:spcAft>
              <a:defRPr sz="1680">
                <a:solidFill>
                  <a:schemeClr val="bg1"/>
                </a:solidFill>
              </a:defRPr>
            </a:lvl1pPr>
          </a:lstStyle>
          <a:p>
            <a:r>
              <a:rPr lang="en-GB"/>
              <a:t>Supporting details – delete if not required</a:t>
            </a:r>
          </a:p>
        </p:txBody>
      </p:sp>
      <p:sp>
        <p:nvSpPr>
          <p:cNvPr id="5" name="Graphic 3">
            <a:extLst>
              <a:ext uri="{FF2B5EF4-FFF2-40B4-BE49-F238E27FC236}">
                <a16:creationId xmlns:a16="http://schemas.microsoft.com/office/drawing/2014/main" id="{A2702702-3E11-9FDF-5B64-822892AA8E70}"/>
              </a:ext>
            </a:extLst>
          </p:cNvPr>
          <p:cNvSpPr/>
          <p:nvPr/>
        </p:nvSpPr>
        <p:spPr>
          <a:xfrm>
            <a:off x="341158" y="6612111"/>
            <a:ext cx="13938722" cy="1283598"/>
          </a:xfrm>
          <a:custGeom>
            <a:avLst/>
            <a:gdLst>
              <a:gd name="connsiteX0" fmla="*/ 1169268 w 11823056"/>
              <a:gd name="connsiteY0" fmla="*/ 997887 h 1088769"/>
              <a:gd name="connsiteX1" fmla="*/ 988876 w 11823056"/>
              <a:gd name="connsiteY1" fmla="*/ 692983 h 1088769"/>
              <a:gd name="connsiteX2" fmla="*/ 1169268 w 11823056"/>
              <a:gd name="connsiteY2" fmla="*/ 388078 h 1088769"/>
              <a:gd name="connsiteX3" fmla="*/ 1349660 w 11823056"/>
              <a:gd name="connsiteY3" fmla="*/ 692983 h 1088769"/>
              <a:gd name="connsiteX4" fmla="*/ 1169268 w 11823056"/>
              <a:gd name="connsiteY4" fmla="*/ 997887 h 1088769"/>
              <a:gd name="connsiteX5" fmla="*/ 1169268 w 11823056"/>
              <a:gd name="connsiteY5" fmla="*/ 306324 h 1088769"/>
              <a:gd name="connsiteX6" fmla="*/ 802539 w 11823056"/>
              <a:gd name="connsiteY6" fmla="*/ 692983 h 1088769"/>
              <a:gd name="connsiteX7" fmla="*/ 1169268 w 11823056"/>
              <a:gd name="connsiteY7" fmla="*/ 1079641 h 1088769"/>
              <a:gd name="connsiteX8" fmla="*/ 1535997 w 11823056"/>
              <a:gd name="connsiteY8" fmla="*/ 692983 h 1088769"/>
              <a:gd name="connsiteX9" fmla="*/ 1169268 w 11823056"/>
              <a:gd name="connsiteY9" fmla="*/ 306324 h 1088769"/>
              <a:gd name="connsiteX10" fmla="*/ 2808786 w 11823056"/>
              <a:gd name="connsiteY10" fmla="*/ 306324 h 1088769"/>
              <a:gd name="connsiteX11" fmla="*/ 2601335 w 11823056"/>
              <a:gd name="connsiteY11" fmla="*/ 414856 h 1088769"/>
              <a:gd name="connsiteX12" fmla="*/ 2592315 w 11823056"/>
              <a:gd name="connsiteY12" fmla="*/ 414856 h 1088769"/>
              <a:gd name="connsiteX13" fmla="*/ 2592315 w 11823056"/>
              <a:gd name="connsiteY13" fmla="*/ 321133 h 1088769"/>
              <a:gd name="connsiteX14" fmla="*/ 2414998 w 11823056"/>
              <a:gd name="connsiteY14" fmla="*/ 321133 h 1088769"/>
              <a:gd name="connsiteX15" fmla="*/ 2414998 w 11823056"/>
              <a:gd name="connsiteY15" fmla="*/ 1064832 h 1088769"/>
              <a:gd name="connsiteX16" fmla="*/ 2592315 w 11823056"/>
              <a:gd name="connsiteY16" fmla="*/ 1064832 h 1088769"/>
              <a:gd name="connsiteX17" fmla="*/ 2592315 w 11823056"/>
              <a:gd name="connsiteY17" fmla="*/ 584451 h 1088769"/>
              <a:gd name="connsiteX18" fmla="*/ 2741139 w 11823056"/>
              <a:gd name="connsiteY18" fmla="*/ 410393 h 1088769"/>
              <a:gd name="connsiteX19" fmla="*/ 2868848 w 11823056"/>
              <a:gd name="connsiteY19" fmla="*/ 556253 h 1088769"/>
              <a:gd name="connsiteX20" fmla="*/ 2868848 w 11823056"/>
              <a:gd name="connsiteY20" fmla="*/ 1064832 h 1088769"/>
              <a:gd name="connsiteX21" fmla="*/ 3046165 w 11823056"/>
              <a:gd name="connsiteY21" fmla="*/ 1064832 h 1088769"/>
              <a:gd name="connsiteX22" fmla="*/ 3046165 w 11823056"/>
              <a:gd name="connsiteY22" fmla="*/ 554630 h 1088769"/>
              <a:gd name="connsiteX23" fmla="*/ 2808786 w 11823056"/>
              <a:gd name="connsiteY23" fmla="*/ 306324 h 1088769"/>
              <a:gd name="connsiteX24" fmla="*/ 3448972 w 11823056"/>
              <a:gd name="connsiteY24" fmla="*/ 306324 h 1088769"/>
              <a:gd name="connsiteX25" fmla="*/ 3161985 w 11823056"/>
              <a:gd name="connsiteY25" fmla="*/ 520548 h 1088769"/>
              <a:gd name="connsiteX26" fmla="*/ 3343812 w 11823056"/>
              <a:gd name="connsiteY26" fmla="*/ 734773 h 1088769"/>
              <a:gd name="connsiteX27" fmla="*/ 3494070 w 11823056"/>
              <a:gd name="connsiteY27" fmla="*/ 771897 h 1088769"/>
              <a:gd name="connsiteX28" fmla="*/ 3609890 w 11823056"/>
              <a:gd name="connsiteY28" fmla="*/ 882052 h 1088769"/>
              <a:gd name="connsiteX29" fmla="*/ 3461067 w 11823056"/>
              <a:gd name="connsiteY29" fmla="*/ 1001133 h 1088769"/>
              <a:gd name="connsiteX30" fmla="*/ 3289694 w 11823056"/>
              <a:gd name="connsiteY30" fmla="*/ 828699 h 1088769"/>
              <a:gd name="connsiteX31" fmla="*/ 3130416 w 11823056"/>
              <a:gd name="connsiteY31" fmla="*/ 873329 h 1088769"/>
              <a:gd name="connsiteX32" fmla="*/ 3441593 w 11823056"/>
              <a:gd name="connsiteY32" fmla="*/ 1080047 h 1088769"/>
              <a:gd name="connsiteX33" fmla="*/ 3754204 w 11823056"/>
              <a:gd name="connsiteY33" fmla="*/ 837625 h 1088769"/>
              <a:gd name="connsiteX34" fmla="*/ 3554338 w 11823056"/>
              <a:gd name="connsiteY34" fmla="*/ 614474 h 1088769"/>
              <a:gd name="connsiteX35" fmla="*/ 3410024 w 11823056"/>
              <a:gd name="connsiteY35" fmla="*/ 578770 h 1088769"/>
              <a:gd name="connsiteX36" fmla="*/ 3306299 w 11823056"/>
              <a:gd name="connsiteY36" fmla="*/ 480584 h 1088769"/>
              <a:gd name="connsiteX37" fmla="*/ 3434008 w 11823056"/>
              <a:gd name="connsiteY37" fmla="*/ 385441 h 1088769"/>
              <a:gd name="connsiteX38" fmla="*/ 3587341 w 11823056"/>
              <a:gd name="connsiteY38" fmla="*/ 528257 h 1088769"/>
              <a:gd name="connsiteX39" fmla="*/ 3737599 w 11823056"/>
              <a:gd name="connsiteY39" fmla="*/ 483627 h 1088769"/>
              <a:gd name="connsiteX40" fmla="*/ 3448972 w 11823056"/>
              <a:gd name="connsiteY40" fmla="*/ 306324 h 1088769"/>
              <a:gd name="connsiteX41" fmla="*/ 4194524 w 11823056"/>
              <a:gd name="connsiteY41" fmla="*/ 997887 h 1088769"/>
              <a:gd name="connsiteX42" fmla="*/ 4014132 w 11823056"/>
              <a:gd name="connsiteY42" fmla="*/ 692983 h 1088769"/>
              <a:gd name="connsiteX43" fmla="*/ 4194524 w 11823056"/>
              <a:gd name="connsiteY43" fmla="*/ 388078 h 1088769"/>
              <a:gd name="connsiteX44" fmla="*/ 4374916 w 11823056"/>
              <a:gd name="connsiteY44" fmla="*/ 692983 h 1088769"/>
              <a:gd name="connsiteX45" fmla="*/ 4194524 w 11823056"/>
              <a:gd name="connsiteY45" fmla="*/ 997887 h 1088769"/>
              <a:gd name="connsiteX46" fmla="*/ 4194524 w 11823056"/>
              <a:gd name="connsiteY46" fmla="*/ 306324 h 1088769"/>
              <a:gd name="connsiteX47" fmla="*/ 3827796 w 11823056"/>
              <a:gd name="connsiteY47" fmla="*/ 692983 h 1088769"/>
              <a:gd name="connsiteX48" fmla="*/ 4194524 w 11823056"/>
              <a:gd name="connsiteY48" fmla="*/ 1079641 h 1088769"/>
              <a:gd name="connsiteX49" fmla="*/ 4561253 w 11823056"/>
              <a:gd name="connsiteY49" fmla="*/ 692983 h 1088769"/>
              <a:gd name="connsiteX50" fmla="*/ 4194524 w 11823056"/>
              <a:gd name="connsiteY50" fmla="*/ 306324 h 1088769"/>
              <a:gd name="connsiteX51" fmla="*/ 5060201 w 11823056"/>
              <a:gd name="connsiteY51" fmla="*/ 306324 h 1088769"/>
              <a:gd name="connsiteX52" fmla="*/ 4852750 w 11823056"/>
              <a:gd name="connsiteY52" fmla="*/ 414856 h 1088769"/>
              <a:gd name="connsiteX53" fmla="*/ 4843731 w 11823056"/>
              <a:gd name="connsiteY53" fmla="*/ 414856 h 1088769"/>
              <a:gd name="connsiteX54" fmla="*/ 4843731 w 11823056"/>
              <a:gd name="connsiteY54" fmla="*/ 321133 h 1088769"/>
              <a:gd name="connsiteX55" fmla="*/ 4666414 w 11823056"/>
              <a:gd name="connsiteY55" fmla="*/ 321133 h 1088769"/>
              <a:gd name="connsiteX56" fmla="*/ 4666414 w 11823056"/>
              <a:gd name="connsiteY56" fmla="*/ 1064832 h 1088769"/>
              <a:gd name="connsiteX57" fmla="*/ 4843731 w 11823056"/>
              <a:gd name="connsiteY57" fmla="*/ 1064832 h 1088769"/>
              <a:gd name="connsiteX58" fmla="*/ 4843731 w 11823056"/>
              <a:gd name="connsiteY58" fmla="*/ 584451 h 1088769"/>
              <a:gd name="connsiteX59" fmla="*/ 4992554 w 11823056"/>
              <a:gd name="connsiteY59" fmla="*/ 410393 h 1088769"/>
              <a:gd name="connsiteX60" fmla="*/ 5120263 w 11823056"/>
              <a:gd name="connsiteY60" fmla="*/ 556253 h 1088769"/>
              <a:gd name="connsiteX61" fmla="*/ 5120263 w 11823056"/>
              <a:gd name="connsiteY61" fmla="*/ 1064832 h 1088769"/>
              <a:gd name="connsiteX62" fmla="*/ 5297580 w 11823056"/>
              <a:gd name="connsiteY62" fmla="*/ 1064832 h 1088769"/>
              <a:gd name="connsiteX63" fmla="*/ 5297580 w 11823056"/>
              <a:gd name="connsiteY63" fmla="*/ 554630 h 1088769"/>
              <a:gd name="connsiteX64" fmla="*/ 5060201 w 11823056"/>
              <a:gd name="connsiteY64" fmla="*/ 306324 h 1088769"/>
              <a:gd name="connsiteX65" fmla="*/ 7694744 w 11823056"/>
              <a:gd name="connsiteY65" fmla="*/ 997887 h 1088769"/>
              <a:gd name="connsiteX66" fmla="*/ 7514353 w 11823056"/>
              <a:gd name="connsiteY66" fmla="*/ 692983 h 1088769"/>
              <a:gd name="connsiteX67" fmla="*/ 7694744 w 11823056"/>
              <a:gd name="connsiteY67" fmla="*/ 388078 h 1088769"/>
              <a:gd name="connsiteX68" fmla="*/ 7875136 w 11823056"/>
              <a:gd name="connsiteY68" fmla="*/ 692983 h 1088769"/>
              <a:gd name="connsiteX69" fmla="*/ 7694744 w 11823056"/>
              <a:gd name="connsiteY69" fmla="*/ 997887 h 1088769"/>
              <a:gd name="connsiteX70" fmla="*/ 7694744 w 11823056"/>
              <a:gd name="connsiteY70" fmla="*/ 306324 h 1088769"/>
              <a:gd name="connsiteX71" fmla="*/ 7328015 w 11823056"/>
              <a:gd name="connsiteY71" fmla="*/ 692983 h 1088769"/>
              <a:gd name="connsiteX72" fmla="*/ 7694744 w 11823056"/>
              <a:gd name="connsiteY72" fmla="*/ 1079641 h 1088769"/>
              <a:gd name="connsiteX73" fmla="*/ 8061473 w 11823056"/>
              <a:gd name="connsiteY73" fmla="*/ 692983 h 1088769"/>
              <a:gd name="connsiteX74" fmla="*/ 7694744 w 11823056"/>
              <a:gd name="connsiteY74" fmla="*/ 306324 h 1088769"/>
              <a:gd name="connsiteX75" fmla="*/ 9334262 w 11823056"/>
              <a:gd name="connsiteY75" fmla="*/ 306324 h 1088769"/>
              <a:gd name="connsiteX76" fmla="*/ 9126810 w 11823056"/>
              <a:gd name="connsiteY76" fmla="*/ 414856 h 1088769"/>
              <a:gd name="connsiteX77" fmla="*/ 9117791 w 11823056"/>
              <a:gd name="connsiteY77" fmla="*/ 414856 h 1088769"/>
              <a:gd name="connsiteX78" fmla="*/ 9117791 w 11823056"/>
              <a:gd name="connsiteY78" fmla="*/ 321133 h 1088769"/>
              <a:gd name="connsiteX79" fmla="*/ 8940474 w 11823056"/>
              <a:gd name="connsiteY79" fmla="*/ 321133 h 1088769"/>
              <a:gd name="connsiteX80" fmla="*/ 8940474 w 11823056"/>
              <a:gd name="connsiteY80" fmla="*/ 1064832 h 1088769"/>
              <a:gd name="connsiteX81" fmla="*/ 9117791 w 11823056"/>
              <a:gd name="connsiteY81" fmla="*/ 1064832 h 1088769"/>
              <a:gd name="connsiteX82" fmla="*/ 9117791 w 11823056"/>
              <a:gd name="connsiteY82" fmla="*/ 584451 h 1088769"/>
              <a:gd name="connsiteX83" fmla="*/ 9266614 w 11823056"/>
              <a:gd name="connsiteY83" fmla="*/ 410393 h 1088769"/>
              <a:gd name="connsiteX84" fmla="*/ 9394324 w 11823056"/>
              <a:gd name="connsiteY84" fmla="*/ 556253 h 1088769"/>
              <a:gd name="connsiteX85" fmla="*/ 9394324 w 11823056"/>
              <a:gd name="connsiteY85" fmla="*/ 1064832 h 1088769"/>
              <a:gd name="connsiteX86" fmla="*/ 9571641 w 11823056"/>
              <a:gd name="connsiteY86" fmla="*/ 1064832 h 1088769"/>
              <a:gd name="connsiteX87" fmla="*/ 9571641 w 11823056"/>
              <a:gd name="connsiteY87" fmla="*/ 554630 h 1088769"/>
              <a:gd name="connsiteX88" fmla="*/ 9334262 w 11823056"/>
              <a:gd name="connsiteY88" fmla="*/ 306324 h 1088769"/>
              <a:gd name="connsiteX89" fmla="*/ 9974653 w 11823056"/>
              <a:gd name="connsiteY89" fmla="*/ 306324 h 1088769"/>
              <a:gd name="connsiteX90" fmla="*/ 9687666 w 11823056"/>
              <a:gd name="connsiteY90" fmla="*/ 520548 h 1088769"/>
              <a:gd name="connsiteX91" fmla="*/ 9869493 w 11823056"/>
              <a:gd name="connsiteY91" fmla="*/ 734773 h 1088769"/>
              <a:gd name="connsiteX92" fmla="*/ 10019751 w 11823056"/>
              <a:gd name="connsiteY92" fmla="*/ 771897 h 1088769"/>
              <a:gd name="connsiteX93" fmla="*/ 10135571 w 11823056"/>
              <a:gd name="connsiteY93" fmla="*/ 882052 h 1088769"/>
              <a:gd name="connsiteX94" fmla="*/ 9986747 w 11823056"/>
              <a:gd name="connsiteY94" fmla="*/ 1001133 h 1088769"/>
              <a:gd name="connsiteX95" fmla="*/ 9815375 w 11823056"/>
              <a:gd name="connsiteY95" fmla="*/ 828699 h 1088769"/>
              <a:gd name="connsiteX96" fmla="*/ 9656097 w 11823056"/>
              <a:gd name="connsiteY96" fmla="*/ 873329 h 1088769"/>
              <a:gd name="connsiteX97" fmla="*/ 9967273 w 11823056"/>
              <a:gd name="connsiteY97" fmla="*/ 1080047 h 1088769"/>
              <a:gd name="connsiteX98" fmla="*/ 10279884 w 11823056"/>
              <a:gd name="connsiteY98" fmla="*/ 837625 h 1088769"/>
              <a:gd name="connsiteX99" fmla="*/ 10080018 w 11823056"/>
              <a:gd name="connsiteY99" fmla="*/ 614474 h 1088769"/>
              <a:gd name="connsiteX100" fmla="*/ 9935705 w 11823056"/>
              <a:gd name="connsiteY100" fmla="*/ 578770 h 1088769"/>
              <a:gd name="connsiteX101" fmla="*/ 9831980 w 11823056"/>
              <a:gd name="connsiteY101" fmla="*/ 480584 h 1088769"/>
              <a:gd name="connsiteX102" fmla="*/ 9959688 w 11823056"/>
              <a:gd name="connsiteY102" fmla="*/ 385441 h 1088769"/>
              <a:gd name="connsiteX103" fmla="*/ 10113022 w 11823056"/>
              <a:gd name="connsiteY103" fmla="*/ 528257 h 1088769"/>
              <a:gd name="connsiteX104" fmla="*/ 10263280 w 11823056"/>
              <a:gd name="connsiteY104" fmla="*/ 483627 h 1088769"/>
              <a:gd name="connsiteX105" fmla="*/ 9974653 w 11823056"/>
              <a:gd name="connsiteY105" fmla="*/ 306324 h 1088769"/>
              <a:gd name="connsiteX106" fmla="*/ 10720000 w 11823056"/>
              <a:gd name="connsiteY106" fmla="*/ 997887 h 1088769"/>
              <a:gd name="connsiteX107" fmla="*/ 10539607 w 11823056"/>
              <a:gd name="connsiteY107" fmla="*/ 692983 h 1088769"/>
              <a:gd name="connsiteX108" fmla="*/ 10720000 w 11823056"/>
              <a:gd name="connsiteY108" fmla="*/ 388078 h 1088769"/>
              <a:gd name="connsiteX109" fmla="*/ 10900392 w 11823056"/>
              <a:gd name="connsiteY109" fmla="*/ 692983 h 1088769"/>
              <a:gd name="connsiteX110" fmla="*/ 10720000 w 11823056"/>
              <a:gd name="connsiteY110" fmla="*/ 997887 h 1088769"/>
              <a:gd name="connsiteX111" fmla="*/ 10720000 w 11823056"/>
              <a:gd name="connsiteY111" fmla="*/ 306324 h 1088769"/>
              <a:gd name="connsiteX112" fmla="*/ 10353271 w 11823056"/>
              <a:gd name="connsiteY112" fmla="*/ 692983 h 1088769"/>
              <a:gd name="connsiteX113" fmla="*/ 10720000 w 11823056"/>
              <a:gd name="connsiteY113" fmla="*/ 1079641 h 1088769"/>
              <a:gd name="connsiteX114" fmla="*/ 11086728 w 11823056"/>
              <a:gd name="connsiteY114" fmla="*/ 692983 h 1088769"/>
              <a:gd name="connsiteX115" fmla="*/ 10720000 w 11823056"/>
              <a:gd name="connsiteY115" fmla="*/ 306324 h 1088769"/>
              <a:gd name="connsiteX116" fmla="*/ 11585677 w 11823056"/>
              <a:gd name="connsiteY116" fmla="*/ 306324 h 1088769"/>
              <a:gd name="connsiteX117" fmla="*/ 11378226 w 11823056"/>
              <a:gd name="connsiteY117" fmla="*/ 414856 h 1088769"/>
              <a:gd name="connsiteX118" fmla="*/ 11369206 w 11823056"/>
              <a:gd name="connsiteY118" fmla="*/ 414856 h 1088769"/>
              <a:gd name="connsiteX119" fmla="*/ 11369206 w 11823056"/>
              <a:gd name="connsiteY119" fmla="*/ 321133 h 1088769"/>
              <a:gd name="connsiteX120" fmla="*/ 11191889 w 11823056"/>
              <a:gd name="connsiteY120" fmla="*/ 321133 h 1088769"/>
              <a:gd name="connsiteX121" fmla="*/ 11191889 w 11823056"/>
              <a:gd name="connsiteY121" fmla="*/ 1064832 h 1088769"/>
              <a:gd name="connsiteX122" fmla="*/ 11369206 w 11823056"/>
              <a:gd name="connsiteY122" fmla="*/ 1064832 h 1088769"/>
              <a:gd name="connsiteX123" fmla="*/ 11369206 w 11823056"/>
              <a:gd name="connsiteY123" fmla="*/ 584451 h 1088769"/>
              <a:gd name="connsiteX124" fmla="*/ 11518030 w 11823056"/>
              <a:gd name="connsiteY124" fmla="*/ 410393 h 1088769"/>
              <a:gd name="connsiteX125" fmla="*/ 11645739 w 11823056"/>
              <a:gd name="connsiteY125" fmla="*/ 556253 h 1088769"/>
              <a:gd name="connsiteX126" fmla="*/ 11645739 w 11823056"/>
              <a:gd name="connsiteY126" fmla="*/ 1064832 h 1088769"/>
              <a:gd name="connsiteX127" fmla="*/ 11823056 w 11823056"/>
              <a:gd name="connsiteY127" fmla="*/ 1064832 h 1088769"/>
              <a:gd name="connsiteX128" fmla="*/ 11823056 w 11823056"/>
              <a:gd name="connsiteY128" fmla="*/ 554630 h 1088769"/>
              <a:gd name="connsiteX129" fmla="*/ 11585677 w 11823056"/>
              <a:gd name="connsiteY129" fmla="*/ 306324 h 1088769"/>
              <a:gd name="connsiteX130" fmla="*/ 697379 w 11823056"/>
              <a:gd name="connsiteY130" fmla="*/ 23735 h 1088769"/>
              <a:gd name="connsiteX131" fmla="*/ 511042 w 11823056"/>
              <a:gd name="connsiteY131" fmla="*/ 23735 h 1088769"/>
              <a:gd name="connsiteX132" fmla="*/ 511042 w 11823056"/>
              <a:gd name="connsiteY132" fmla="*/ 792589 h 1088769"/>
              <a:gd name="connsiteX133" fmla="*/ 348690 w 11823056"/>
              <a:gd name="connsiteY133" fmla="*/ 991801 h 1088769"/>
              <a:gd name="connsiteX134" fmla="*/ 186337 w 11823056"/>
              <a:gd name="connsiteY134" fmla="*/ 777577 h 1088769"/>
              <a:gd name="connsiteX135" fmla="*/ 186337 w 11823056"/>
              <a:gd name="connsiteY135" fmla="*/ 634761 h 1088769"/>
              <a:gd name="connsiteX136" fmla="*/ 0 w 11823056"/>
              <a:gd name="connsiteY136" fmla="*/ 680811 h 1088769"/>
              <a:gd name="connsiteX137" fmla="*/ 0 w 11823056"/>
              <a:gd name="connsiteY137" fmla="*/ 744713 h 1088769"/>
              <a:gd name="connsiteX138" fmla="*/ 348690 w 11823056"/>
              <a:gd name="connsiteY138" fmla="*/ 1088364 h 1088769"/>
              <a:gd name="connsiteX139" fmla="*/ 697379 w 11823056"/>
              <a:gd name="connsiteY139" fmla="*/ 744713 h 1088769"/>
              <a:gd name="connsiteX140" fmla="*/ 697379 w 11823056"/>
              <a:gd name="connsiteY140" fmla="*/ 23735 h 1088769"/>
              <a:gd name="connsiteX141" fmla="*/ 1818474 w 11823056"/>
              <a:gd name="connsiteY141" fmla="*/ 23735 h 1088769"/>
              <a:gd name="connsiteX142" fmla="*/ 1641157 w 11823056"/>
              <a:gd name="connsiteY142" fmla="*/ 23735 h 1088769"/>
              <a:gd name="connsiteX143" fmla="*/ 1641157 w 11823056"/>
              <a:gd name="connsiteY143" fmla="*/ 1064832 h 1088769"/>
              <a:gd name="connsiteX144" fmla="*/ 1818474 w 11823056"/>
              <a:gd name="connsiteY144" fmla="*/ 1064832 h 1088769"/>
              <a:gd name="connsiteX145" fmla="*/ 1818474 w 11823056"/>
              <a:gd name="connsiteY145" fmla="*/ 584451 h 1088769"/>
              <a:gd name="connsiteX146" fmla="*/ 1967298 w 11823056"/>
              <a:gd name="connsiteY146" fmla="*/ 410393 h 1088769"/>
              <a:gd name="connsiteX147" fmla="*/ 2095007 w 11823056"/>
              <a:gd name="connsiteY147" fmla="*/ 556253 h 1088769"/>
              <a:gd name="connsiteX148" fmla="*/ 2095007 w 11823056"/>
              <a:gd name="connsiteY148" fmla="*/ 1064832 h 1088769"/>
              <a:gd name="connsiteX149" fmla="*/ 2272324 w 11823056"/>
              <a:gd name="connsiteY149" fmla="*/ 1064832 h 1088769"/>
              <a:gd name="connsiteX150" fmla="*/ 2272324 w 11823056"/>
              <a:gd name="connsiteY150" fmla="*/ 554630 h 1088769"/>
              <a:gd name="connsiteX151" fmla="*/ 2034945 w 11823056"/>
              <a:gd name="connsiteY151" fmla="*/ 306324 h 1088769"/>
              <a:gd name="connsiteX152" fmla="*/ 1827494 w 11823056"/>
              <a:gd name="connsiteY152" fmla="*/ 414856 h 1088769"/>
              <a:gd name="connsiteX153" fmla="*/ 1818474 w 11823056"/>
              <a:gd name="connsiteY153" fmla="*/ 414856 h 1088769"/>
              <a:gd name="connsiteX154" fmla="*/ 1818474 w 11823056"/>
              <a:gd name="connsiteY154" fmla="*/ 23735 h 1088769"/>
              <a:gd name="connsiteX155" fmla="*/ 7222855 w 11823056"/>
              <a:gd name="connsiteY155" fmla="*/ 23735 h 1088769"/>
              <a:gd name="connsiteX156" fmla="*/ 7036518 w 11823056"/>
              <a:gd name="connsiteY156" fmla="*/ 23735 h 1088769"/>
              <a:gd name="connsiteX157" fmla="*/ 7036518 w 11823056"/>
              <a:gd name="connsiteY157" fmla="*/ 792589 h 1088769"/>
              <a:gd name="connsiteX158" fmla="*/ 6874166 w 11823056"/>
              <a:gd name="connsiteY158" fmla="*/ 991801 h 1088769"/>
              <a:gd name="connsiteX159" fmla="*/ 6711813 w 11823056"/>
              <a:gd name="connsiteY159" fmla="*/ 777577 h 1088769"/>
              <a:gd name="connsiteX160" fmla="*/ 6711813 w 11823056"/>
              <a:gd name="connsiteY160" fmla="*/ 634761 h 1088769"/>
              <a:gd name="connsiteX161" fmla="*/ 6525476 w 11823056"/>
              <a:gd name="connsiteY161" fmla="*/ 680811 h 1088769"/>
              <a:gd name="connsiteX162" fmla="*/ 6525476 w 11823056"/>
              <a:gd name="connsiteY162" fmla="*/ 744713 h 1088769"/>
              <a:gd name="connsiteX163" fmla="*/ 6874166 w 11823056"/>
              <a:gd name="connsiteY163" fmla="*/ 1088364 h 1088769"/>
              <a:gd name="connsiteX164" fmla="*/ 7222855 w 11823056"/>
              <a:gd name="connsiteY164" fmla="*/ 744713 h 1088769"/>
              <a:gd name="connsiteX165" fmla="*/ 7222855 w 11823056"/>
              <a:gd name="connsiteY165" fmla="*/ 23735 h 1088769"/>
              <a:gd name="connsiteX166" fmla="*/ 8343950 w 11823056"/>
              <a:gd name="connsiteY166" fmla="*/ 23735 h 1088769"/>
              <a:gd name="connsiteX167" fmla="*/ 8166633 w 11823056"/>
              <a:gd name="connsiteY167" fmla="*/ 23735 h 1088769"/>
              <a:gd name="connsiteX168" fmla="*/ 8166633 w 11823056"/>
              <a:gd name="connsiteY168" fmla="*/ 1064832 h 1088769"/>
              <a:gd name="connsiteX169" fmla="*/ 8343950 w 11823056"/>
              <a:gd name="connsiteY169" fmla="*/ 1064832 h 1088769"/>
              <a:gd name="connsiteX170" fmla="*/ 8343950 w 11823056"/>
              <a:gd name="connsiteY170" fmla="*/ 584451 h 1088769"/>
              <a:gd name="connsiteX171" fmla="*/ 8492774 w 11823056"/>
              <a:gd name="connsiteY171" fmla="*/ 410393 h 1088769"/>
              <a:gd name="connsiteX172" fmla="*/ 8620483 w 11823056"/>
              <a:gd name="connsiteY172" fmla="*/ 556253 h 1088769"/>
              <a:gd name="connsiteX173" fmla="*/ 8620483 w 11823056"/>
              <a:gd name="connsiteY173" fmla="*/ 1064832 h 1088769"/>
              <a:gd name="connsiteX174" fmla="*/ 8797800 w 11823056"/>
              <a:gd name="connsiteY174" fmla="*/ 1064832 h 1088769"/>
              <a:gd name="connsiteX175" fmla="*/ 8797800 w 11823056"/>
              <a:gd name="connsiteY175" fmla="*/ 554630 h 1088769"/>
              <a:gd name="connsiteX176" fmla="*/ 8560421 w 11823056"/>
              <a:gd name="connsiteY176" fmla="*/ 306324 h 1088769"/>
              <a:gd name="connsiteX177" fmla="*/ 8352970 w 11823056"/>
              <a:gd name="connsiteY177" fmla="*/ 414856 h 1088769"/>
              <a:gd name="connsiteX178" fmla="*/ 8343950 w 11823056"/>
              <a:gd name="connsiteY178" fmla="*/ 414856 h 1088769"/>
              <a:gd name="connsiteX179" fmla="*/ 8343950 w 11823056"/>
              <a:gd name="connsiteY179" fmla="*/ 23735 h 1088769"/>
              <a:gd name="connsiteX180" fmla="*/ 5882214 w 11823056"/>
              <a:gd name="connsiteY180" fmla="*/ 980035 h 1088769"/>
              <a:gd name="connsiteX181" fmla="*/ 5649345 w 11823056"/>
              <a:gd name="connsiteY181" fmla="*/ 740656 h 1088769"/>
              <a:gd name="connsiteX182" fmla="*/ 5740976 w 11823056"/>
              <a:gd name="connsiteY182" fmla="*/ 551790 h 1088769"/>
              <a:gd name="connsiteX183" fmla="*/ 6080646 w 11823056"/>
              <a:gd name="connsiteY183" fmla="*/ 919176 h 1088769"/>
              <a:gd name="connsiteX184" fmla="*/ 5882214 w 11823056"/>
              <a:gd name="connsiteY184" fmla="*/ 980035 h 1088769"/>
              <a:gd name="connsiteX185" fmla="*/ 6212865 w 11823056"/>
              <a:gd name="connsiteY185" fmla="*/ 797052 h 1088769"/>
              <a:gd name="connsiteX186" fmla="*/ 5918293 w 11823056"/>
              <a:gd name="connsiteY186" fmla="*/ 475716 h 1088769"/>
              <a:gd name="connsiteX187" fmla="*/ 6064042 w 11823056"/>
              <a:gd name="connsiteY187" fmla="*/ 447518 h 1088769"/>
              <a:gd name="connsiteX188" fmla="*/ 6260833 w 11823056"/>
              <a:gd name="connsiteY188" fmla="*/ 638007 h 1088769"/>
              <a:gd name="connsiteX189" fmla="*/ 6212865 w 11823056"/>
              <a:gd name="connsiteY189" fmla="*/ 797052 h 1088769"/>
              <a:gd name="connsiteX190" fmla="*/ 5877705 w 11823056"/>
              <a:gd name="connsiteY190" fmla="*/ 432708 h 1088769"/>
              <a:gd name="connsiteX191" fmla="*/ 5813132 w 11823056"/>
              <a:gd name="connsiteY191" fmla="*/ 361300 h 1088769"/>
              <a:gd name="connsiteX192" fmla="*/ 5739541 w 11823056"/>
              <a:gd name="connsiteY192" fmla="*/ 214021 h 1088769"/>
              <a:gd name="connsiteX193" fmla="*/ 5882214 w 11823056"/>
              <a:gd name="connsiteY193" fmla="*/ 78711 h 1088769"/>
              <a:gd name="connsiteX194" fmla="*/ 6023453 w 11823056"/>
              <a:gd name="connsiteY194" fmla="*/ 221527 h 1088769"/>
              <a:gd name="connsiteX195" fmla="*/ 5877705 w 11823056"/>
              <a:gd name="connsiteY195" fmla="*/ 432708 h 1088769"/>
              <a:gd name="connsiteX196" fmla="*/ 5886724 w 11823056"/>
              <a:gd name="connsiteY196" fmla="*/ 0 h 1088769"/>
              <a:gd name="connsiteX197" fmla="*/ 5577188 w 11823056"/>
              <a:gd name="connsiteY197" fmla="*/ 257231 h 1088769"/>
              <a:gd name="connsiteX198" fmla="*/ 5697518 w 11823056"/>
              <a:gd name="connsiteY198" fmla="*/ 505537 h 1088769"/>
              <a:gd name="connsiteX199" fmla="*/ 5698952 w 11823056"/>
              <a:gd name="connsiteY199" fmla="*/ 508580 h 1088769"/>
              <a:gd name="connsiteX200" fmla="*/ 5484122 w 11823056"/>
              <a:gd name="connsiteY200" fmla="*/ 807601 h 1088769"/>
              <a:gd name="connsiteX201" fmla="*/ 5786279 w 11823056"/>
              <a:gd name="connsiteY201" fmla="*/ 1088770 h 1088769"/>
              <a:gd name="connsiteX202" fmla="*/ 6125949 w 11823056"/>
              <a:gd name="connsiteY202" fmla="*/ 968269 h 1088769"/>
              <a:gd name="connsiteX203" fmla="*/ 6216145 w 11823056"/>
              <a:gd name="connsiteY203" fmla="*/ 1065035 h 1088769"/>
              <a:gd name="connsiteX204" fmla="*/ 6452089 w 11823056"/>
              <a:gd name="connsiteY204" fmla="*/ 1065035 h 1088769"/>
              <a:gd name="connsiteX205" fmla="*/ 6452089 w 11823056"/>
              <a:gd name="connsiteY205" fmla="*/ 1057529 h 1088769"/>
              <a:gd name="connsiteX206" fmla="*/ 6259808 w 11823056"/>
              <a:gd name="connsiteY206" fmla="*/ 847768 h 1088769"/>
              <a:gd name="connsiteX207" fmla="*/ 6387517 w 11823056"/>
              <a:gd name="connsiteY207" fmla="*/ 557673 h 1088769"/>
              <a:gd name="connsiteX208" fmla="*/ 6190726 w 11823056"/>
              <a:gd name="connsiteY208" fmla="*/ 368806 h 1088769"/>
              <a:gd name="connsiteX209" fmla="*/ 6010334 w 11823056"/>
              <a:gd name="connsiteY209" fmla="*/ 404510 h 1088769"/>
              <a:gd name="connsiteX210" fmla="*/ 6007259 w 11823056"/>
              <a:gd name="connsiteY210" fmla="*/ 398627 h 1088769"/>
              <a:gd name="connsiteX211" fmla="*/ 6169612 w 11823056"/>
              <a:gd name="connsiteY211" fmla="*/ 202255 h 1088769"/>
              <a:gd name="connsiteX212" fmla="*/ 5886724 w 11823056"/>
              <a:gd name="connsiteY212" fmla="*/ 0 h 108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1823056" h="1088769">
                <a:moveTo>
                  <a:pt x="1169268" y="997887"/>
                </a:moveTo>
                <a:cubicBezTo>
                  <a:pt x="1053448" y="997887"/>
                  <a:pt x="988876" y="889355"/>
                  <a:pt x="988876" y="692983"/>
                </a:cubicBezTo>
                <a:cubicBezTo>
                  <a:pt x="988876" y="493568"/>
                  <a:pt x="1053448" y="388078"/>
                  <a:pt x="1169268" y="388078"/>
                </a:cubicBezTo>
                <a:cubicBezTo>
                  <a:pt x="1285088" y="388078"/>
                  <a:pt x="1349660" y="495191"/>
                  <a:pt x="1349660" y="692983"/>
                </a:cubicBezTo>
                <a:cubicBezTo>
                  <a:pt x="1349455" y="892398"/>
                  <a:pt x="1284883" y="997887"/>
                  <a:pt x="1169268" y="997887"/>
                </a:cubicBezTo>
                <a:moveTo>
                  <a:pt x="1169268" y="306324"/>
                </a:moveTo>
                <a:cubicBezTo>
                  <a:pt x="933324" y="306324"/>
                  <a:pt x="802539" y="480381"/>
                  <a:pt x="802539" y="692983"/>
                </a:cubicBezTo>
                <a:cubicBezTo>
                  <a:pt x="802539" y="905584"/>
                  <a:pt x="933324" y="1079641"/>
                  <a:pt x="1169268" y="1079641"/>
                </a:cubicBezTo>
                <a:cubicBezTo>
                  <a:pt x="1405213" y="1079641"/>
                  <a:pt x="1535997" y="905584"/>
                  <a:pt x="1535997" y="692983"/>
                </a:cubicBezTo>
                <a:cubicBezTo>
                  <a:pt x="1535997" y="480381"/>
                  <a:pt x="1405213" y="306324"/>
                  <a:pt x="1169268" y="306324"/>
                </a:cubicBezTo>
                <a:moveTo>
                  <a:pt x="2808786" y="306324"/>
                </a:moveTo>
                <a:cubicBezTo>
                  <a:pt x="2697476" y="306324"/>
                  <a:pt x="2635978" y="353997"/>
                  <a:pt x="2601335" y="414856"/>
                </a:cubicBezTo>
                <a:lnTo>
                  <a:pt x="2592315" y="414856"/>
                </a:lnTo>
                <a:lnTo>
                  <a:pt x="2592315" y="321133"/>
                </a:lnTo>
                <a:lnTo>
                  <a:pt x="2414998" y="321133"/>
                </a:lnTo>
                <a:lnTo>
                  <a:pt x="2414998" y="1064832"/>
                </a:lnTo>
                <a:lnTo>
                  <a:pt x="2592315" y="1064832"/>
                </a:lnTo>
                <a:lnTo>
                  <a:pt x="2592315" y="584451"/>
                </a:lnTo>
                <a:cubicBezTo>
                  <a:pt x="2592315" y="474498"/>
                  <a:pt x="2649508" y="410393"/>
                  <a:pt x="2741139" y="410393"/>
                </a:cubicBezTo>
                <a:cubicBezTo>
                  <a:pt x="2829900" y="410393"/>
                  <a:pt x="2868848" y="468413"/>
                  <a:pt x="2868848" y="556253"/>
                </a:cubicBezTo>
                <a:lnTo>
                  <a:pt x="2868848" y="1064832"/>
                </a:lnTo>
                <a:lnTo>
                  <a:pt x="3046165" y="1064832"/>
                </a:lnTo>
                <a:lnTo>
                  <a:pt x="3046165" y="554630"/>
                </a:lnTo>
                <a:cubicBezTo>
                  <a:pt x="3046370" y="401467"/>
                  <a:pt x="2965194" y="306324"/>
                  <a:pt x="2808786" y="306324"/>
                </a:cubicBezTo>
                <a:moveTo>
                  <a:pt x="3448972" y="306324"/>
                </a:moveTo>
                <a:cubicBezTo>
                  <a:pt x="3285185" y="306324"/>
                  <a:pt x="3161985" y="374689"/>
                  <a:pt x="3161985" y="520548"/>
                </a:cubicBezTo>
                <a:cubicBezTo>
                  <a:pt x="3161985" y="644093"/>
                  <a:pt x="3247671" y="711038"/>
                  <a:pt x="3343812" y="734773"/>
                </a:cubicBezTo>
                <a:lnTo>
                  <a:pt x="3494070" y="771897"/>
                </a:lnTo>
                <a:cubicBezTo>
                  <a:pt x="3573812" y="791169"/>
                  <a:pt x="3609890" y="819570"/>
                  <a:pt x="3609890" y="882052"/>
                </a:cubicBezTo>
                <a:cubicBezTo>
                  <a:pt x="3609890" y="957923"/>
                  <a:pt x="3555773" y="1001133"/>
                  <a:pt x="3461067" y="1001133"/>
                </a:cubicBezTo>
                <a:cubicBezTo>
                  <a:pt x="3358776" y="1001133"/>
                  <a:pt x="3306299" y="952040"/>
                  <a:pt x="3289694" y="828699"/>
                </a:cubicBezTo>
                <a:lnTo>
                  <a:pt x="3130416" y="873329"/>
                </a:lnTo>
                <a:cubicBezTo>
                  <a:pt x="3139436" y="1001336"/>
                  <a:pt x="3259766" y="1080047"/>
                  <a:pt x="3441593" y="1080047"/>
                </a:cubicBezTo>
                <a:cubicBezTo>
                  <a:pt x="3644534" y="1080047"/>
                  <a:pt x="3754204" y="986324"/>
                  <a:pt x="3754204" y="837625"/>
                </a:cubicBezTo>
                <a:cubicBezTo>
                  <a:pt x="3754204" y="697851"/>
                  <a:pt x="3656423" y="639832"/>
                  <a:pt x="3554338" y="614474"/>
                </a:cubicBezTo>
                <a:lnTo>
                  <a:pt x="3410024" y="578770"/>
                </a:lnTo>
                <a:cubicBezTo>
                  <a:pt x="3337867" y="560918"/>
                  <a:pt x="3306299" y="528257"/>
                  <a:pt x="3306299" y="480584"/>
                </a:cubicBezTo>
                <a:cubicBezTo>
                  <a:pt x="3306299" y="421145"/>
                  <a:pt x="3357341" y="385441"/>
                  <a:pt x="3434008" y="385441"/>
                </a:cubicBezTo>
                <a:cubicBezTo>
                  <a:pt x="3524204" y="385441"/>
                  <a:pt x="3579756" y="434534"/>
                  <a:pt x="3587341" y="528257"/>
                </a:cubicBezTo>
                <a:lnTo>
                  <a:pt x="3737599" y="483627"/>
                </a:lnTo>
                <a:cubicBezTo>
                  <a:pt x="3719560" y="379152"/>
                  <a:pt x="3615835" y="306324"/>
                  <a:pt x="3448972" y="306324"/>
                </a:cubicBezTo>
                <a:moveTo>
                  <a:pt x="4194524" y="997887"/>
                </a:moveTo>
                <a:cubicBezTo>
                  <a:pt x="4078704" y="997887"/>
                  <a:pt x="4014132" y="889355"/>
                  <a:pt x="4014132" y="692983"/>
                </a:cubicBezTo>
                <a:cubicBezTo>
                  <a:pt x="4014132" y="493568"/>
                  <a:pt x="4078704" y="388078"/>
                  <a:pt x="4194524" y="388078"/>
                </a:cubicBezTo>
                <a:cubicBezTo>
                  <a:pt x="4310344" y="388078"/>
                  <a:pt x="4374916" y="495191"/>
                  <a:pt x="4374916" y="692983"/>
                </a:cubicBezTo>
                <a:cubicBezTo>
                  <a:pt x="4374916" y="892398"/>
                  <a:pt x="4310139" y="997887"/>
                  <a:pt x="4194524" y="997887"/>
                </a:cubicBezTo>
                <a:moveTo>
                  <a:pt x="4194524" y="306324"/>
                </a:moveTo>
                <a:cubicBezTo>
                  <a:pt x="3958580" y="306324"/>
                  <a:pt x="3827796" y="480381"/>
                  <a:pt x="3827796" y="692983"/>
                </a:cubicBezTo>
                <a:cubicBezTo>
                  <a:pt x="3827796" y="905584"/>
                  <a:pt x="3958580" y="1079641"/>
                  <a:pt x="4194524" y="1079641"/>
                </a:cubicBezTo>
                <a:cubicBezTo>
                  <a:pt x="4430469" y="1079641"/>
                  <a:pt x="4561253" y="905584"/>
                  <a:pt x="4561253" y="692983"/>
                </a:cubicBezTo>
                <a:cubicBezTo>
                  <a:pt x="4561253" y="480381"/>
                  <a:pt x="4430469" y="306324"/>
                  <a:pt x="4194524" y="306324"/>
                </a:cubicBezTo>
                <a:moveTo>
                  <a:pt x="5060201" y="306324"/>
                </a:moveTo>
                <a:cubicBezTo>
                  <a:pt x="4948891" y="306324"/>
                  <a:pt x="4887394" y="353997"/>
                  <a:pt x="4852750" y="414856"/>
                </a:cubicBezTo>
                <a:lnTo>
                  <a:pt x="4843731" y="414856"/>
                </a:lnTo>
                <a:lnTo>
                  <a:pt x="4843731" y="321133"/>
                </a:lnTo>
                <a:lnTo>
                  <a:pt x="4666414" y="321133"/>
                </a:lnTo>
                <a:lnTo>
                  <a:pt x="4666414" y="1064832"/>
                </a:lnTo>
                <a:lnTo>
                  <a:pt x="4843731" y="1064832"/>
                </a:lnTo>
                <a:lnTo>
                  <a:pt x="4843731" y="584451"/>
                </a:lnTo>
                <a:cubicBezTo>
                  <a:pt x="4843731" y="474498"/>
                  <a:pt x="4900923" y="410393"/>
                  <a:pt x="4992554" y="410393"/>
                </a:cubicBezTo>
                <a:cubicBezTo>
                  <a:pt x="5081315" y="410393"/>
                  <a:pt x="5120263" y="468413"/>
                  <a:pt x="5120263" y="556253"/>
                </a:cubicBezTo>
                <a:lnTo>
                  <a:pt x="5120263" y="1064832"/>
                </a:lnTo>
                <a:lnTo>
                  <a:pt x="5297580" y="1064832"/>
                </a:lnTo>
                <a:lnTo>
                  <a:pt x="5297580" y="554630"/>
                </a:lnTo>
                <a:cubicBezTo>
                  <a:pt x="5297580" y="401467"/>
                  <a:pt x="5216404" y="306324"/>
                  <a:pt x="5060201" y="306324"/>
                </a:cubicBezTo>
                <a:moveTo>
                  <a:pt x="7694744" y="997887"/>
                </a:moveTo>
                <a:cubicBezTo>
                  <a:pt x="7578925" y="997887"/>
                  <a:pt x="7514353" y="889355"/>
                  <a:pt x="7514353" y="692983"/>
                </a:cubicBezTo>
                <a:cubicBezTo>
                  <a:pt x="7514353" y="493568"/>
                  <a:pt x="7578925" y="388078"/>
                  <a:pt x="7694744" y="388078"/>
                </a:cubicBezTo>
                <a:cubicBezTo>
                  <a:pt x="7810564" y="388078"/>
                  <a:pt x="7875136" y="495191"/>
                  <a:pt x="7875136" y="692983"/>
                </a:cubicBezTo>
                <a:cubicBezTo>
                  <a:pt x="7875136" y="892398"/>
                  <a:pt x="7810359" y="997887"/>
                  <a:pt x="7694744" y="997887"/>
                </a:cubicBezTo>
                <a:moveTo>
                  <a:pt x="7694744" y="306324"/>
                </a:moveTo>
                <a:cubicBezTo>
                  <a:pt x="7458800" y="306324"/>
                  <a:pt x="7328015" y="480381"/>
                  <a:pt x="7328015" y="692983"/>
                </a:cubicBezTo>
                <a:cubicBezTo>
                  <a:pt x="7328015" y="905584"/>
                  <a:pt x="7458800" y="1079641"/>
                  <a:pt x="7694744" y="1079641"/>
                </a:cubicBezTo>
                <a:cubicBezTo>
                  <a:pt x="7930689" y="1079641"/>
                  <a:pt x="8061473" y="905584"/>
                  <a:pt x="8061473" y="692983"/>
                </a:cubicBezTo>
                <a:cubicBezTo>
                  <a:pt x="8061473" y="480381"/>
                  <a:pt x="7930689" y="306324"/>
                  <a:pt x="7694744" y="306324"/>
                </a:cubicBezTo>
                <a:moveTo>
                  <a:pt x="9334262" y="306324"/>
                </a:moveTo>
                <a:cubicBezTo>
                  <a:pt x="9222951" y="306324"/>
                  <a:pt x="9161454" y="353997"/>
                  <a:pt x="9126810" y="414856"/>
                </a:cubicBezTo>
                <a:lnTo>
                  <a:pt x="9117791" y="414856"/>
                </a:lnTo>
                <a:lnTo>
                  <a:pt x="9117791" y="321133"/>
                </a:lnTo>
                <a:lnTo>
                  <a:pt x="8940474" y="321133"/>
                </a:lnTo>
                <a:lnTo>
                  <a:pt x="8940474" y="1064832"/>
                </a:lnTo>
                <a:lnTo>
                  <a:pt x="9117791" y="1064832"/>
                </a:lnTo>
                <a:lnTo>
                  <a:pt x="9117791" y="584451"/>
                </a:lnTo>
                <a:cubicBezTo>
                  <a:pt x="9117791" y="474498"/>
                  <a:pt x="9174983" y="410393"/>
                  <a:pt x="9266614" y="410393"/>
                </a:cubicBezTo>
                <a:cubicBezTo>
                  <a:pt x="9355376" y="410393"/>
                  <a:pt x="9394324" y="468413"/>
                  <a:pt x="9394324" y="556253"/>
                </a:cubicBezTo>
                <a:lnTo>
                  <a:pt x="9394324" y="1064832"/>
                </a:lnTo>
                <a:lnTo>
                  <a:pt x="9571641" y="1064832"/>
                </a:lnTo>
                <a:lnTo>
                  <a:pt x="9571641" y="554630"/>
                </a:lnTo>
                <a:cubicBezTo>
                  <a:pt x="9571846" y="401467"/>
                  <a:pt x="9490669" y="306324"/>
                  <a:pt x="9334262" y="306324"/>
                </a:cubicBezTo>
                <a:moveTo>
                  <a:pt x="9974653" y="306324"/>
                </a:moveTo>
                <a:cubicBezTo>
                  <a:pt x="9810865" y="306324"/>
                  <a:pt x="9687666" y="374689"/>
                  <a:pt x="9687666" y="520548"/>
                </a:cubicBezTo>
                <a:cubicBezTo>
                  <a:pt x="9687666" y="644093"/>
                  <a:pt x="9773352" y="711038"/>
                  <a:pt x="9869493" y="734773"/>
                </a:cubicBezTo>
                <a:lnTo>
                  <a:pt x="10019751" y="771897"/>
                </a:lnTo>
                <a:cubicBezTo>
                  <a:pt x="10099492" y="791169"/>
                  <a:pt x="10135571" y="819570"/>
                  <a:pt x="10135571" y="882052"/>
                </a:cubicBezTo>
                <a:cubicBezTo>
                  <a:pt x="10135571" y="957923"/>
                  <a:pt x="10081453" y="1001133"/>
                  <a:pt x="9986747" y="1001133"/>
                </a:cubicBezTo>
                <a:cubicBezTo>
                  <a:pt x="9884457" y="1001133"/>
                  <a:pt x="9831980" y="952040"/>
                  <a:pt x="9815375" y="828699"/>
                </a:cubicBezTo>
                <a:lnTo>
                  <a:pt x="9656097" y="873329"/>
                </a:lnTo>
                <a:cubicBezTo>
                  <a:pt x="9665117" y="1001336"/>
                  <a:pt x="9785446" y="1080047"/>
                  <a:pt x="9967273" y="1080047"/>
                </a:cubicBezTo>
                <a:cubicBezTo>
                  <a:pt x="10170215" y="1080047"/>
                  <a:pt x="10279884" y="986324"/>
                  <a:pt x="10279884" y="837625"/>
                </a:cubicBezTo>
                <a:cubicBezTo>
                  <a:pt x="10279884" y="697851"/>
                  <a:pt x="10182104" y="639832"/>
                  <a:pt x="10080018" y="614474"/>
                </a:cubicBezTo>
                <a:lnTo>
                  <a:pt x="9935705" y="578770"/>
                </a:lnTo>
                <a:cubicBezTo>
                  <a:pt x="9863548" y="560918"/>
                  <a:pt x="9831980" y="528257"/>
                  <a:pt x="9831980" y="480584"/>
                </a:cubicBezTo>
                <a:cubicBezTo>
                  <a:pt x="9831980" y="421145"/>
                  <a:pt x="9883022" y="385441"/>
                  <a:pt x="9959688" y="385441"/>
                </a:cubicBezTo>
                <a:cubicBezTo>
                  <a:pt x="10049884" y="385441"/>
                  <a:pt x="10105437" y="434534"/>
                  <a:pt x="10113022" y="528257"/>
                </a:cubicBezTo>
                <a:lnTo>
                  <a:pt x="10263280" y="483627"/>
                </a:lnTo>
                <a:cubicBezTo>
                  <a:pt x="10245036" y="379152"/>
                  <a:pt x="10141311" y="306324"/>
                  <a:pt x="9974653" y="306324"/>
                </a:cubicBezTo>
                <a:moveTo>
                  <a:pt x="10720000" y="997887"/>
                </a:moveTo>
                <a:cubicBezTo>
                  <a:pt x="10604180" y="997887"/>
                  <a:pt x="10539607" y="889355"/>
                  <a:pt x="10539607" y="692983"/>
                </a:cubicBezTo>
                <a:cubicBezTo>
                  <a:pt x="10539607" y="493568"/>
                  <a:pt x="10604180" y="388078"/>
                  <a:pt x="10720000" y="388078"/>
                </a:cubicBezTo>
                <a:cubicBezTo>
                  <a:pt x="10835819" y="388078"/>
                  <a:pt x="10900392" y="495191"/>
                  <a:pt x="10900392" y="692983"/>
                </a:cubicBezTo>
                <a:cubicBezTo>
                  <a:pt x="10900392" y="892398"/>
                  <a:pt x="10835614" y="997887"/>
                  <a:pt x="10720000" y="997887"/>
                </a:cubicBezTo>
                <a:moveTo>
                  <a:pt x="10720000" y="306324"/>
                </a:moveTo>
                <a:cubicBezTo>
                  <a:pt x="10484056" y="306324"/>
                  <a:pt x="10353271" y="480381"/>
                  <a:pt x="10353271" y="692983"/>
                </a:cubicBezTo>
                <a:cubicBezTo>
                  <a:pt x="10353271" y="905584"/>
                  <a:pt x="10484056" y="1079641"/>
                  <a:pt x="10720000" y="1079641"/>
                </a:cubicBezTo>
                <a:cubicBezTo>
                  <a:pt x="10955945" y="1079641"/>
                  <a:pt x="11086728" y="905584"/>
                  <a:pt x="11086728" y="692983"/>
                </a:cubicBezTo>
                <a:cubicBezTo>
                  <a:pt x="11086728" y="480381"/>
                  <a:pt x="10955945" y="306324"/>
                  <a:pt x="10720000" y="306324"/>
                </a:cubicBezTo>
                <a:moveTo>
                  <a:pt x="11585677" y="306324"/>
                </a:moveTo>
                <a:cubicBezTo>
                  <a:pt x="11474367" y="306324"/>
                  <a:pt x="11412869" y="353997"/>
                  <a:pt x="11378226" y="414856"/>
                </a:cubicBezTo>
                <a:lnTo>
                  <a:pt x="11369206" y="414856"/>
                </a:lnTo>
                <a:lnTo>
                  <a:pt x="11369206" y="321133"/>
                </a:lnTo>
                <a:lnTo>
                  <a:pt x="11191889" y="321133"/>
                </a:lnTo>
                <a:lnTo>
                  <a:pt x="11191889" y="1064832"/>
                </a:lnTo>
                <a:lnTo>
                  <a:pt x="11369206" y="1064832"/>
                </a:lnTo>
                <a:lnTo>
                  <a:pt x="11369206" y="584451"/>
                </a:lnTo>
                <a:cubicBezTo>
                  <a:pt x="11369206" y="474498"/>
                  <a:pt x="11426398" y="410393"/>
                  <a:pt x="11518030" y="410393"/>
                </a:cubicBezTo>
                <a:cubicBezTo>
                  <a:pt x="11606791" y="410393"/>
                  <a:pt x="11645739" y="468413"/>
                  <a:pt x="11645739" y="556253"/>
                </a:cubicBezTo>
                <a:lnTo>
                  <a:pt x="11645739" y="1064832"/>
                </a:lnTo>
                <a:lnTo>
                  <a:pt x="11823056" y="1064832"/>
                </a:lnTo>
                <a:lnTo>
                  <a:pt x="11823056" y="554630"/>
                </a:lnTo>
                <a:cubicBezTo>
                  <a:pt x="11823056" y="401467"/>
                  <a:pt x="11741880" y="306324"/>
                  <a:pt x="11585677" y="306324"/>
                </a:cubicBezTo>
                <a:moveTo>
                  <a:pt x="697379" y="23735"/>
                </a:moveTo>
                <a:lnTo>
                  <a:pt x="511042" y="23735"/>
                </a:lnTo>
                <a:lnTo>
                  <a:pt x="511042" y="792589"/>
                </a:lnTo>
                <a:cubicBezTo>
                  <a:pt x="511042" y="917553"/>
                  <a:pt x="462869" y="991801"/>
                  <a:pt x="348690" y="991801"/>
                </a:cubicBezTo>
                <a:cubicBezTo>
                  <a:pt x="235945" y="991801"/>
                  <a:pt x="186337" y="912887"/>
                  <a:pt x="186337" y="777577"/>
                </a:cubicBezTo>
                <a:lnTo>
                  <a:pt x="186337" y="634761"/>
                </a:lnTo>
                <a:lnTo>
                  <a:pt x="0" y="680811"/>
                </a:lnTo>
                <a:lnTo>
                  <a:pt x="0" y="744713"/>
                </a:lnTo>
                <a:cubicBezTo>
                  <a:pt x="0" y="939462"/>
                  <a:pt x="97781" y="1088364"/>
                  <a:pt x="348690" y="1088364"/>
                </a:cubicBezTo>
                <a:cubicBezTo>
                  <a:pt x="599598" y="1088364"/>
                  <a:pt x="697379" y="939665"/>
                  <a:pt x="697379" y="744713"/>
                </a:cubicBezTo>
                <a:lnTo>
                  <a:pt x="697379" y="23735"/>
                </a:lnTo>
                <a:moveTo>
                  <a:pt x="1818474" y="23735"/>
                </a:moveTo>
                <a:lnTo>
                  <a:pt x="1641157" y="23735"/>
                </a:lnTo>
                <a:lnTo>
                  <a:pt x="1641157" y="1064832"/>
                </a:lnTo>
                <a:lnTo>
                  <a:pt x="1818474" y="1064832"/>
                </a:lnTo>
                <a:lnTo>
                  <a:pt x="1818474" y="584451"/>
                </a:lnTo>
                <a:cubicBezTo>
                  <a:pt x="1818474" y="474498"/>
                  <a:pt x="1875667" y="410393"/>
                  <a:pt x="1967298" y="410393"/>
                </a:cubicBezTo>
                <a:cubicBezTo>
                  <a:pt x="2056059" y="410393"/>
                  <a:pt x="2095007" y="468413"/>
                  <a:pt x="2095007" y="556253"/>
                </a:cubicBezTo>
                <a:lnTo>
                  <a:pt x="2095007" y="1064832"/>
                </a:lnTo>
                <a:lnTo>
                  <a:pt x="2272324" y="1064832"/>
                </a:lnTo>
                <a:lnTo>
                  <a:pt x="2272324" y="554630"/>
                </a:lnTo>
                <a:cubicBezTo>
                  <a:pt x="2272324" y="401467"/>
                  <a:pt x="2191148" y="306324"/>
                  <a:pt x="2034945" y="306324"/>
                </a:cubicBezTo>
                <a:cubicBezTo>
                  <a:pt x="1923635" y="306324"/>
                  <a:pt x="1862138" y="353997"/>
                  <a:pt x="1827494" y="414856"/>
                </a:cubicBezTo>
                <a:lnTo>
                  <a:pt x="1818474" y="414856"/>
                </a:lnTo>
                <a:lnTo>
                  <a:pt x="1818474" y="23735"/>
                </a:lnTo>
                <a:moveTo>
                  <a:pt x="7222855" y="23735"/>
                </a:moveTo>
                <a:lnTo>
                  <a:pt x="7036518" y="23735"/>
                </a:lnTo>
                <a:lnTo>
                  <a:pt x="7036518" y="792589"/>
                </a:lnTo>
                <a:cubicBezTo>
                  <a:pt x="7036518" y="917553"/>
                  <a:pt x="6988346" y="991801"/>
                  <a:pt x="6874166" y="991801"/>
                </a:cubicBezTo>
                <a:cubicBezTo>
                  <a:pt x="6761421" y="991801"/>
                  <a:pt x="6711813" y="912887"/>
                  <a:pt x="6711813" y="777577"/>
                </a:cubicBezTo>
                <a:lnTo>
                  <a:pt x="6711813" y="634761"/>
                </a:lnTo>
                <a:lnTo>
                  <a:pt x="6525476" y="680811"/>
                </a:lnTo>
                <a:lnTo>
                  <a:pt x="6525476" y="744713"/>
                </a:lnTo>
                <a:cubicBezTo>
                  <a:pt x="6525476" y="939462"/>
                  <a:pt x="6623257" y="1088364"/>
                  <a:pt x="6874166" y="1088364"/>
                </a:cubicBezTo>
                <a:cubicBezTo>
                  <a:pt x="7125074" y="1088364"/>
                  <a:pt x="7222855" y="939665"/>
                  <a:pt x="7222855" y="744713"/>
                </a:cubicBezTo>
                <a:lnTo>
                  <a:pt x="7222855" y="23735"/>
                </a:lnTo>
                <a:moveTo>
                  <a:pt x="8343950" y="23735"/>
                </a:moveTo>
                <a:lnTo>
                  <a:pt x="8166633" y="23735"/>
                </a:lnTo>
                <a:lnTo>
                  <a:pt x="8166633" y="1064832"/>
                </a:lnTo>
                <a:lnTo>
                  <a:pt x="8343950" y="1064832"/>
                </a:lnTo>
                <a:lnTo>
                  <a:pt x="8343950" y="584451"/>
                </a:lnTo>
                <a:cubicBezTo>
                  <a:pt x="8343950" y="474498"/>
                  <a:pt x="8401143" y="410393"/>
                  <a:pt x="8492774" y="410393"/>
                </a:cubicBezTo>
                <a:cubicBezTo>
                  <a:pt x="8581535" y="410393"/>
                  <a:pt x="8620483" y="468413"/>
                  <a:pt x="8620483" y="556253"/>
                </a:cubicBezTo>
                <a:lnTo>
                  <a:pt x="8620483" y="1064832"/>
                </a:lnTo>
                <a:lnTo>
                  <a:pt x="8797800" y="1064832"/>
                </a:lnTo>
                <a:lnTo>
                  <a:pt x="8797800" y="554630"/>
                </a:lnTo>
                <a:cubicBezTo>
                  <a:pt x="8797800" y="401467"/>
                  <a:pt x="8716624" y="306324"/>
                  <a:pt x="8560421" y="306324"/>
                </a:cubicBezTo>
                <a:cubicBezTo>
                  <a:pt x="8449110" y="306324"/>
                  <a:pt x="8387613" y="353997"/>
                  <a:pt x="8352970" y="414856"/>
                </a:cubicBezTo>
                <a:lnTo>
                  <a:pt x="8343950" y="414856"/>
                </a:lnTo>
                <a:lnTo>
                  <a:pt x="8343950" y="23735"/>
                </a:lnTo>
                <a:moveTo>
                  <a:pt x="5882214" y="980035"/>
                </a:moveTo>
                <a:cubicBezTo>
                  <a:pt x="5737901" y="980035"/>
                  <a:pt x="5649345" y="863997"/>
                  <a:pt x="5649345" y="740656"/>
                </a:cubicBezTo>
                <a:cubicBezTo>
                  <a:pt x="5649345" y="663365"/>
                  <a:pt x="5683988" y="591957"/>
                  <a:pt x="5740976" y="551790"/>
                </a:cubicBezTo>
                <a:lnTo>
                  <a:pt x="6080646" y="919176"/>
                </a:lnTo>
                <a:cubicBezTo>
                  <a:pt x="6017508" y="956300"/>
                  <a:pt x="5946787" y="980035"/>
                  <a:pt x="5882214" y="980035"/>
                </a:cubicBezTo>
                <a:moveTo>
                  <a:pt x="6212865" y="797052"/>
                </a:moveTo>
                <a:lnTo>
                  <a:pt x="5918293" y="475716"/>
                </a:lnTo>
                <a:cubicBezTo>
                  <a:pt x="5970976" y="454821"/>
                  <a:pt x="6022018" y="447518"/>
                  <a:pt x="6064042" y="447518"/>
                </a:cubicBezTo>
                <a:cubicBezTo>
                  <a:pt x="6185806" y="447518"/>
                  <a:pt x="6260833" y="517506"/>
                  <a:pt x="6260833" y="638007"/>
                </a:cubicBezTo>
                <a:cubicBezTo>
                  <a:pt x="6261038" y="691563"/>
                  <a:pt x="6245869" y="746539"/>
                  <a:pt x="6212865" y="797052"/>
                </a:cubicBezTo>
                <a:moveTo>
                  <a:pt x="5877705" y="432708"/>
                </a:moveTo>
                <a:lnTo>
                  <a:pt x="5813132" y="361300"/>
                </a:lnTo>
                <a:cubicBezTo>
                  <a:pt x="5755940" y="298818"/>
                  <a:pt x="5739541" y="260071"/>
                  <a:pt x="5739541" y="214021"/>
                </a:cubicBezTo>
                <a:cubicBezTo>
                  <a:pt x="5739541" y="127804"/>
                  <a:pt x="5795093" y="78711"/>
                  <a:pt x="5882214" y="78711"/>
                </a:cubicBezTo>
                <a:cubicBezTo>
                  <a:pt x="5970976" y="78711"/>
                  <a:pt x="6023453" y="129224"/>
                  <a:pt x="6023453" y="221527"/>
                </a:cubicBezTo>
                <a:cubicBezTo>
                  <a:pt x="6023453" y="306324"/>
                  <a:pt x="5981430" y="386658"/>
                  <a:pt x="5877705" y="432708"/>
                </a:cubicBezTo>
                <a:moveTo>
                  <a:pt x="5886724" y="0"/>
                </a:moveTo>
                <a:cubicBezTo>
                  <a:pt x="5679273" y="0"/>
                  <a:pt x="5577188" y="114618"/>
                  <a:pt x="5577188" y="257231"/>
                </a:cubicBezTo>
                <a:cubicBezTo>
                  <a:pt x="5577188" y="334522"/>
                  <a:pt x="5610192" y="412016"/>
                  <a:pt x="5697518" y="505537"/>
                </a:cubicBezTo>
                <a:lnTo>
                  <a:pt x="5698952" y="508580"/>
                </a:lnTo>
                <a:cubicBezTo>
                  <a:pt x="5551769" y="578568"/>
                  <a:pt x="5484122" y="691563"/>
                  <a:pt x="5484122" y="807601"/>
                </a:cubicBezTo>
                <a:cubicBezTo>
                  <a:pt x="5484122" y="960763"/>
                  <a:pt x="5602812" y="1088770"/>
                  <a:pt x="5786279" y="1088770"/>
                </a:cubicBezTo>
                <a:cubicBezTo>
                  <a:pt x="5891439" y="1088770"/>
                  <a:pt x="6014639" y="1045560"/>
                  <a:pt x="6125949" y="968269"/>
                </a:cubicBezTo>
                <a:lnTo>
                  <a:pt x="6216145" y="1065035"/>
                </a:lnTo>
                <a:lnTo>
                  <a:pt x="6452089" y="1065035"/>
                </a:lnTo>
                <a:lnTo>
                  <a:pt x="6452089" y="1057529"/>
                </a:lnTo>
                <a:lnTo>
                  <a:pt x="6259808" y="847768"/>
                </a:lnTo>
                <a:cubicBezTo>
                  <a:pt x="6340984" y="752625"/>
                  <a:pt x="6387517" y="648556"/>
                  <a:pt x="6387517" y="557673"/>
                </a:cubicBezTo>
                <a:cubicBezTo>
                  <a:pt x="6387517" y="444677"/>
                  <a:pt x="6310850" y="368806"/>
                  <a:pt x="6190726" y="368806"/>
                </a:cubicBezTo>
                <a:cubicBezTo>
                  <a:pt x="6127588" y="368806"/>
                  <a:pt x="6056867" y="386658"/>
                  <a:pt x="6010334" y="404510"/>
                </a:cubicBezTo>
                <a:lnTo>
                  <a:pt x="6007259" y="398627"/>
                </a:lnTo>
                <a:cubicBezTo>
                  <a:pt x="6121439" y="337565"/>
                  <a:pt x="6169612" y="281169"/>
                  <a:pt x="6169612" y="202255"/>
                </a:cubicBezTo>
                <a:cubicBezTo>
                  <a:pt x="6169202" y="89260"/>
                  <a:pt x="6067117" y="0"/>
                  <a:pt x="5886724" y="0"/>
                </a:cubicBezTo>
              </a:path>
            </a:pathLst>
          </a:custGeom>
          <a:solidFill>
            <a:schemeClr val="bg1"/>
          </a:solidFill>
          <a:ln w="20487"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52582683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0" y="2055814"/>
            <a:ext cx="13177520" cy="592470"/>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500"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9" name="Text Placeholder 8"/>
          <p:cNvSpPr>
            <a:spLocks noGrp="1"/>
          </p:cNvSpPr>
          <p:nvPr>
            <p:ph type="body" sz="quarter" idx="11"/>
          </p:nvPr>
        </p:nvSpPr>
        <p:spPr>
          <a:xfrm>
            <a:off x="726440" y="2912748"/>
            <a:ext cx="13177520" cy="414635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7"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C43E0D67-8D13-E647-B59C-D9F54B974EBC}"/>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349775" y="315360"/>
            <a:ext cx="5600860" cy="392416"/>
          </a:xfrm>
        </p:spPr>
        <p:txBody>
          <a:bodyPr>
            <a:spAutoFit/>
          </a:bodyPr>
          <a:lstStyle>
            <a:lvl1pPr>
              <a:defRPr sz="3000" b="0" i="0">
                <a:solidFill>
                  <a:schemeClr val="bg1"/>
                </a:solidFill>
                <a:latin typeface="+mj-lt"/>
              </a:defRPr>
            </a:lvl1pPr>
          </a:lstStyle>
          <a:p>
            <a:r>
              <a:rPr lang="en-US"/>
              <a:t>Click to edit Master title style</a:t>
            </a:r>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7399021" y="288248"/>
            <a:ext cx="3354704" cy="860616"/>
          </a:xfrm>
        </p:spPr>
        <p:txBody>
          <a:bodyPr anchor="t"/>
          <a:lstStyle>
            <a:lvl1pPr marL="0" indent="0" algn="l">
              <a:spcBef>
                <a:spcPts val="0"/>
              </a:spcBef>
              <a:spcAft>
                <a:spcPts val="0"/>
              </a:spcAft>
              <a:buNone/>
              <a:defRPr sz="1680">
                <a:solidFill>
                  <a:schemeClr val="bg1"/>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GB"/>
              <a:t>Supporting details – delete if not required</a:t>
            </a:r>
          </a:p>
        </p:txBody>
      </p:sp>
      <p:sp>
        <p:nvSpPr>
          <p:cNvPr id="32" name="Text Placeholder 31">
            <a:extLst>
              <a:ext uri="{FF2B5EF4-FFF2-40B4-BE49-F238E27FC236}">
                <a16:creationId xmlns:a16="http://schemas.microsoft.com/office/drawing/2014/main" id="{BE8CDE24-BE6D-421C-9ED6-9443D70EB983}"/>
              </a:ext>
            </a:extLst>
          </p:cNvPr>
          <p:cNvSpPr>
            <a:spLocks noGrp="1"/>
          </p:cNvSpPr>
          <p:nvPr>
            <p:ph type="body" sz="quarter" idx="10" hasCustomPrompt="1"/>
          </p:nvPr>
        </p:nvSpPr>
        <p:spPr>
          <a:xfrm>
            <a:off x="10925176" y="288248"/>
            <a:ext cx="3354704" cy="860616"/>
          </a:xfrm>
        </p:spPr>
        <p:txBody>
          <a:bodyPr anchor="t"/>
          <a:lstStyle>
            <a:lvl1pPr>
              <a:spcBef>
                <a:spcPts val="0"/>
              </a:spcBef>
              <a:spcAft>
                <a:spcPts val="0"/>
              </a:spcAft>
              <a:defRPr sz="1680">
                <a:solidFill>
                  <a:schemeClr val="bg1"/>
                </a:solidFill>
              </a:defRPr>
            </a:lvl1pPr>
          </a:lstStyle>
          <a:p>
            <a:r>
              <a:rPr lang="en-GB"/>
              <a:t>Supporting details – delete if not required</a:t>
            </a:r>
          </a:p>
        </p:txBody>
      </p:sp>
      <p:sp>
        <p:nvSpPr>
          <p:cNvPr id="8" name="Graphic 6">
            <a:extLst>
              <a:ext uri="{FF2B5EF4-FFF2-40B4-BE49-F238E27FC236}">
                <a16:creationId xmlns:a16="http://schemas.microsoft.com/office/drawing/2014/main" id="{ACC64B1C-0B76-B49C-E8DA-EBD2AFAFA613}"/>
              </a:ext>
            </a:extLst>
          </p:cNvPr>
          <p:cNvSpPr>
            <a:spLocks noChangeAspect="1"/>
          </p:cNvSpPr>
          <p:nvPr/>
        </p:nvSpPr>
        <p:spPr>
          <a:xfrm>
            <a:off x="344806" y="2723321"/>
            <a:ext cx="13930105" cy="5198129"/>
          </a:xfrm>
          <a:custGeom>
            <a:avLst/>
            <a:gdLst>
              <a:gd name="connsiteX0" fmla="*/ 9940695 w 12886034"/>
              <a:gd name="connsiteY0" fmla="*/ 2142364 h 4808525"/>
              <a:gd name="connsiteX1" fmla="*/ 9940695 w 12886034"/>
              <a:gd name="connsiteY1" fmla="*/ 1153823 h 4808525"/>
              <a:gd name="connsiteX2" fmla="*/ 10243112 w 12886034"/>
              <a:gd name="connsiteY2" fmla="*/ 795655 h 4808525"/>
              <a:gd name="connsiteX3" fmla="*/ 10502975 w 12886034"/>
              <a:gd name="connsiteY3" fmla="*/ 1095467 h 4808525"/>
              <a:gd name="connsiteX4" fmla="*/ 10502975 w 12886034"/>
              <a:gd name="connsiteY4" fmla="*/ 2142364 h 4808525"/>
              <a:gd name="connsiteX5" fmla="*/ 10863643 w 12886034"/>
              <a:gd name="connsiteY5" fmla="*/ 2142364 h 4808525"/>
              <a:gd name="connsiteX6" fmla="*/ 10863643 w 12886034"/>
              <a:gd name="connsiteY6" fmla="*/ 1092672 h 4808525"/>
              <a:gd name="connsiteX7" fmla="*/ 10380892 w 12886034"/>
              <a:gd name="connsiteY7" fmla="*/ 581454 h 4808525"/>
              <a:gd name="connsiteX8" fmla="*/ 9959182 w 12886034"/>
              <a:gd name="connsiteY8" fmla="*/ 804741 h 4808525"/>
              <a:gd name="connsiteX9" fmla="*/ 9940695 w 12886034"/>
              <a:gd name="connsiteY9" fmla="*/ 804741 h 4808525"/>
              <a:gd name="connsiteX10" fmla="*/ 9940695 w 12886034"/>
              <a:gd name="connsiteY10" fmla="*/ 611854 h 4808525"/>
              <a:gd name="connsiteX11" fmla="*/ 9580028 w 12886034"/>
              <a:gd name="connsiteY11" fmla="*/ 611854 h 4808525"/>
              <a:gd name="connsiteX12" fmla="*/ 9580028 w 12886034"/>
              <a:gd name="connsiteY12" fmla="*/ 2142015 h 4808525"/>
              <a:gd name="connsiteX13" fmla="*/ 9940695 w 12886034"/>
              <a:gd name="connsiteY13" fmla="*/ 2142015 h 4808525"/>
              <a:gd name="connsiteX14" fmla="*/ 8620803 w 12886034"/>
              <a:gd name="connsiteY14" fmla="*/ 2004688 h 4808525"/>
              <a:gd name="connsiteX15" fmla="*/ 8254206 w 12886034"/>
              <a:gd name="connsiteY15" fmla="*/ 1377109 h 4808525"/>
              <a:gd name="connsiteX16" fmla="*/ 8620803 w 12886034"/>
              <a:gd name="connsiteY16" fmla="*/ 749530 h 4808525"/>
              <a:gd name="connsiteX17" fmla="*/ 8987401 w 12886034"/>
              <a:gd name="connsiteY17" fmla="*/ 1377109 h 4808525"/>
              <a:gd name="connsiteX18" fmla="*/ 8620803 w 12886034"/>
              <a:gd name="connsiteY18" fmla="*/ 2004688 h 4808525"/>
              <a:gd name="connsiteX19" fmla="*/ 8620803 w 12886034"/>
              <a:gd name="connsiteY19" fmla="*/ 2173114 h 4808525"/>
              <a:gd name="connsiteX20" fmla="*/ 9366208 w 12886034"/>
              <a:gd name="connsiteY20" fmla="*/ 1377459 h 4808525"/>
              <a:gd name="connsiteX21" fmla="*/ 8620803 w 12886034"/>
              <a:gd name="connsiteY21" fmla="*/ 581803 h 4808525"/>
              <a:gd name="connsiteX22" fmla="*/ 7875400 w 12886034"/>
              <a:gd name="connsiteY22" fmla="*/ 1377459 h 4808525"/>
              <a:gd name="connsiteX23" fmla="*/ 8620803 w 12886034"/>
              <a:gd name="connsiteY23" fmla="*/ 2173114 h 4808525"/>
              <a:gd name="connsiteX24" fmla="*/ 7090232 w 12886034"/>
              <a:gd name="connsiteY24" fmla="*/ 2173114 h 4808525"/>
              <a:gd name="connsiteX25" fmla="*/ 7725761 w 12886034"/>
              <a:gd name="connsiteY25" fmla="*/ 1674126 h 4808525"/>
              <a:gd name="connsiteX26" fmla="*/ 7319399 w 12886034"/>
              <a:gd name="connsiteY26" fmla="*/ 1214973 h 4808525"/>
              <a:gd name="connsiteX27" fmla="*/ 7026051 w 12886034"/>
              <a:gd name="connsiteY27" fmla="*/ 1141592 h 4808525"/>
              <a:gd name="connsiteX28" fmla="*/ 6815371 w 12886034"/>
              <a:gd name="connsiteY28" fmla="*/ 939621 h 4808525"/>
              <a:gd name="connsiteX29" fmla="*/ 7074884 w 12886034"/>
              <a:gd name="connsiteY29" fmla="*/ 743590 h 4808525"/>
              <a:gd name="connsiteX30" fmla="*/ 7386370 w 12886034"/>
              <a:gd name="connsiteY30" fmla="*/ 1037462 h 4808525"/>
              <a:gd name="connsiteX31" fmla="*/ 7691926 w 12886034"/>
              <a:gd name="connsiteY31" fmla="*/ 945561 h 4808525"/>
              <a:gd name="connsiteX32" fmla="*/ 7105231 w 12886034"/>
              <a:gd name="connsiteY32" fmla="*/ 581454 h 4808525"/>
              <a:gd name="connsiteX33" fmla="*/ 6521674 w 12886034"/>
              <a:gd name="connsiteY33" fmla="*/ 1022087 h 4808525"/>
              <a:gd name="connsiteX34" fmla="*/ 6891411 w 12886034"/>
              <a:gd name="connsiteY34" fmla="*/ 1462720 h 4808525"/>
              <a:gd name="connsiteX35" fmla="*/ 7196967 w 12886034"/>
              <a:gd name="connsiteY35" fmla="*/ 1539245 h 4808525"/>
              <a:gd name="connsiteX36" fmla="*/ 7432064 w 12886034"/>
              <a:gd name="connsiteY36" fmla="*/ 1765677 h 4808525"/>
              <a:gd name="connsiteX37" fmla="*/ 7129647 w 12886034"/>
              <a:gd name="connsiteY37" fmla="*/ 2010628 h 4808525"/>
              <a:gd name="connsiteX38" fmla="*/ 6781536 w 12886034"/>
              <a:gd name="connsiteY38" fmla="*/ 1655606 h 4808525"/>
              <a:gd name="connsiteX39" fmla="*/ 6457842 w 12886034"/>
              <a:gd name="connsiteY39" fmla="*/ 1747506 h 4808525"/>
              <a:gd name="connsiteX40" fmla="*/ 7090232 w 12886034"/>
              <a:gd name="connsiteY40" fmla="*/ 2173114 h 4808525"/>
              <a:gd name="connsiteX41" fmla="*/ 5363978 w 12886034"/>
              <a:gd name="connsiteY41" fmla="*/ 2142364 h 4808525"/>
              <a:gd name="connsiteX42" fmla="*/ 5363978 w 12886034"/>
              <a:gd name="connsiteY42" fmla="*/ 1153823 h 4808525"/>
              <a:gd name="connsiteX43" fmla="*/ 5666395 w 12886034"/>
              <a:gd name="connsiteY43" fmla="*/ 795655 h 4808525"/>
              <a:gd name="connsiteX44" fmla="*/ 5926258 w 12886034"/>
              <a:gd name="connsiteY44" fmla="*/ 1095467 h 4808525"/>
              <a:gd name="connsiteX45" fmla="*/ 5926258 w 12886034"/>
              <a:gd name="connsiteY45" fmla="*/ 2142364 h 4808525"/>
              <a:gd name="connsiteX46" fmla="*/ 6286926 w 12886034"/>
              <a:gd name="connsiteY46" fmla="*/ 2142364 h 4808525"/>
              <a:gd name="connsiteX47" fmla="*/ 6286926 w 12886034"/>
              <a:gd name="connsiteY47" fmla="*/ 1092672 h 4808525"/>
              <a:gd name="connsiteX48" fmla="*/ 5804175 w 12886034"/>
              <a:gd name="connsiteY48" fmla="*/ 581454 h 4808525"/>
              <a:gd name="connsiteX49" fmla="*/ 5382465 w 12886034"/>
              <a:gd name="connsiteY49" fmla="*/ 804741 h 4808525"/>
              <a:gd name="connsiteX50" fmla="*/ 5363978 w 12886034"/>
              <a:gd name="connsiteY50" fmla="*/ 804741 h 4808525"/>
              <a:gd name="connsiteX51" fmla="*/ 5363978 w 12886034"/>
              <a:gd name="connsiteY51" fmla="*/ 611854 h 4808525"/>
              <a:gd name="connsiteX52" fmla="*/ 5003310 w 12886034"/>
              <a:gd name="connsiteY52" fmla="*/ 611854 h 4808525"/>
              <a:gd name="connsiteX53" fmla="*/ 5003310 w 12886034"/>
              <a:gd name="connsiteY53" fmla="*/ 2142015 h 4808525"/>
              <a:gd name="connsiteX54" fmla="*/ 5363978 w 12886034"/>
              <a:gd name="connsiteY54" fmla="*/ 2142015 h 4808525"/>
              <a:gd name="connsiteX55" fmla="*/ 3790851 w 12886034"/>
              <a:gd name="connsiteY55" fmla="*/ 2142364 h 4808525"/>
              <a:gd name="connsiteX56" fmla="*/ 3790851 w 12886034"/>
              <a:gd name="connsiteY56" fmla="*/ 1153823 h 4808525"/>
              <a:gd name="connsiteX57" fmla="*/ 4093268 w 12886034"/>
              <a:gd name="connsiteY57" fmla="*/ 795655 h 4808525"/>
              <a:gd name="connsiteX58" fmla="*/ 4352782 w 12886034"/>
              <a:gd name="connsiteY58" fmla="*/ 1095467 h 4808525"/>
              <a:gd name="connsiteX59" fmla="*/ 4352782 w 12886034"/>
              <a:gd name="connsiteY59" fmla="*/ 2142364 h 4808525"/>
              <a:gd name="connsiteX60" fmla="*/ 4713450 w 12886034"/>
              <a:gd name="connsiteY60" fmla="*/ 2142364 h 4808525"/>
              <a:gd name="connsiteX61" fmla="*/ 4713450 w 12886034"/>
              <a:gd name="connsiteY61" fmla="*/ 1092672 h 4808525"/>
              <a:gd name="connsiteX62" fmla="*/ 4230699 w 12886034"/>
              <a:gd name="connsiteY62" fmla="*/ 581454 h 4808525"/>
              <a:gd name="connsiteX63" fmla="*/ 3808990 w 12886034"/>
              <a:gd name="connsiteY63" fmla="*/ 804741 h 4808525"/>
              <a:gd name="connsiteX64" fmla="*/ 3790503 w 12886034"/>
              <a:gd name="connsiteY64" fmla="*/ 804741 h 4808525"/>
              <a:gd name="connsiteX65" fmla="*/ 3790503 w 12886034"/>
              <a:gd name="connsiteY65" fmla="*/ 0 h 4808525"/>
              <a:gd name="connsiteX66" fmla="*/ 3429835 w 12886034"/>
              <a:gd name="connsiteY66" fmla="*/ 0 h 4808525"/>
              <a:gd name="connsiteX67" fmla="*/ 3429835 w 12886034"/>
              <a:gd name="connsiteY67" fmla="*/ 2142364 h 4808525"/>
              <a:gd name="connsiteX68" fmla="*/ 3790851 w 12886034"/>
              <a:gd name="connsiteY68" fmla="*/ 2142364 h 4808525"/>
              <a:gd name="connsiteX69" fmla="*/ 2470960 w 12886034"/>
              <a:gd name="connsiteY69" fmla="*/ 2004688 h 4808525"/>
              <a:gd name="connsiteX70" fmla="*/ 2104362 w 12886034"/>
              <a:gd name="connsiteY70" fmla="*/ 1377109 h 4808525"/>
              <a:gd name="connsiteX71" fmla="*/ 2470960 w 12886034"/>
              <a:gd name="connsiteY71" fmla="*/ 749530 h 4808525"/>
              <a:gd name="connsiteX72" fmla="*/ 2837558 w 12886034"/>
              <a:gd name="connsiteY72" fmla="*/ 1377109 h 4808525"/>
              <a:gd name="connsiteX73" fmla="*/ 2470960 w 12886034"/>
              <a:gd name="connsiteY73" fmla="*/ 2004688 h 4808525"/>
              <a:gd name="connsiteX74" fmla="*/ 2470960 w 12886034"/>
              <a:gd name="connsiteY74" fmla="*/ 2173114 h 4808525"/>
              <a:gd name="connsiteX75" fmla="*/ 3216364 w 12886034"/>
              <a:gd name="connsiteY75" fmla="*/ 1377459 h 4808525"/>
              <a:gd name="connsiteX76" fmla="*/ 2470960 w 12886034"/>
              <a:gd name="connsiteY76" fmla="*/ 581803 h 4808525"/>
              <a:gd name="connsiteX77" fmla="*/ 1725556 w 12886034"/>
              <a:gd name="connsiteY77" fmla="*/ 1377459 h 4808525"/>
              <a:gd name="connsiteX78" fmla="*/ 2470960 w 12886034"/>
              <a:gd name="connsiteY78" fmla="*/ 2173114 h 4808525"/>
              <a:gd name="connsiteX79" fmla="*/ 802957 w 12886034"/>
              <a:gd name="connsiteY79" fmla="*/ 2191284 h 4808525"/>
              <a:gd name="connsiteX80" fmla="*/ 1511736 w 12886034"/>
              <a:gd name="connsiteY80" fmla="*/ 1484385 h 4808525"/>
              <a:gd name="connsiteX81" fmla="*/ 1511736 w 12886034"/>
              <a:gd name="connsiteY81" fmla="*/ 0 h 4808525"/>
              <a:gd name="connsiteX82" fmla="*/ 1132930 w 12886034"/>
              <a:gd name="connsiteY82" fmla="*/ 0 h 4808525"/>
              <a:gd name="connsiteX83" fmla="*/ 1132930 w 12886034"/>
              <a:gd name="connsiteY83" fmla="*/ 1582225 h 4808525"/>
              <a:gd name="connsiteX84" fmla="*/ 802957 w 12886034"/>
              <a:gd name="connsiteY84" fmla="*/ 1992458 h 4808525"/>
              <a:gd name="connsiteX85" fmla="*/ 472984 w 12886034"/>
              <a:gd name="connsiteY85" fmla="*/ 1551825 h 4808525"/>
              <a:gd name="connsiteX86" fmla="*/ 472984 w 12886034"/>
              <a:gd name="connsiteY86" fmla="*/ 1257953 h 4808525"/>
              <a:gd name="connsiteX87" fmla="*/ 94178 w 12886034"/>
              <a:gd name="connsiteY87" fmla="*/ 1352649 h 4808525"/>
              <a:gd name="connsiteX88" fmla="*/ 94178 w 12886034"/>
              <a:gd name="connsiteY88" fmla="*/ 1484385 h 4808525"/>
              <a:gd name="connsiteX89" fmla="*/ 802957 w 12886034"/>
              <a:gd name="connsiteY89" fmla="*/ 2191284 h 4808525"/>
              <a:gd name="connsiteX90" fmla="*/ 11963087 w 12886034"/>
              <a:gd name="connsiteY90" fmla="*/ 4759256 h 4808525"/>
              <a:gd name="connsiteX91" fmla="*/ 11963087 w 12886034"/>
              <a:gd name="connsiteY91" fmla="*/ 3770714 h 4808525"/>
              <a:gd name="connsiteX92" fmla="*/ 12265504 w 12886034"/>
              <a:gd name="connsiteY92" fmla="*/ 3412547 h 4808525"/>
              <a:gd name="connsiteX93" fmla="*/ 12525366 w 12886034"/>
              <a:gd name="connsiteY93" fmla="*/ 3712359 h 4808525"/>
              <a:gd name="connsiteX94" fmla="*/ 12525366 w 12886034"/>
              <a:gd name="connsiteY94" fmla="*/ 4759256 h 4808525"/>
              <a:gd name="connsiteX95" fmla="*/ 12886035 w 12886034"/>
              <a:gd name="connsiteY95" fmla="*/ 4759256 h 4808525"/>
              <a:gd name="connsiteX96" fmla="*/ 12886035 w 12886034"/>
              <a:gd name="connsiteY96" fmla="*/ 3709564 h 4808525"/>
              <a:gd name="connsiteX97" fmla="*/ 12403283 w 12886034"/>
              <a:gd name="connsiteY97" fmla="*/ 3198346 h 4808525"/>
              <a:gd name="connsiteX98" fmla="*/ 11981574 w 12886034"/>
              <a:gd name="connsiteY98" fmla="*/ 3421632 h 4808525"/>
              <a:gd name="connsiteX99" fmla="*/ 11963436 w 12886034"/>
              <a:gd name="connsiteY99" fmla="*/ 3421632 h 4808525"/>
              <a:gd name="connsiteX100" fmla="*/ 11963436 w 12886034"/>
              <a:gd name="connsiteY100" fmla="*/ 3228746 h 4808525"/>
              <a:gd name="connsiteX101" fmla="*/ 11602768 w 12886034"/>
              <a:gd name="connsiteY101" fmla="*/ 3228746 h 4808525"/>
              <a:gd name="connsiteX102" fmla="*/ 11602768 w 12886034"/>
              <a:gd name="connsiteY102" fmla="*/ 4758906 h 4808525"/>
              <a:gd name="connsiteX103" fmla="*/ 11963087 w 12886034"/>
              <a:gd name="connsiteY103" fmla="*/ 4758906 h 4808525"/>
              <a:gd name="connsiteX104" fmla="*/ 10643544 w 12886034"/>
              <a:gd name="connsiteY104" fmla="*/ 4621580 h 4808525"/>
              <a:gd name="connsiteX105" fmla="*/ 10276946 w 12886034"/>
              <a:gd name="connsiteY105" fmla="*/ 3994001 h 4808525"/>
              <a:gd name="connsiteX106" fmla="*/ 10643544 w 12886034"/>
              <a:gd name="connsiteY106" fmla="*/ 3366422 h 4808525"/>
              <a:gd name="connsiteX107" fmla="*/ 11010143 w 12886034"/>
              <a:gd name="connsiteY107" fmla="*/ 3994001 h 4808525"/>
              <a:gd name="connsiteX108" fmla="*/ 10643544 w 12886034"/>
              <a:gd name="connsiteY108" fmla="*/ 4621580 h 4808525"/>
              <a:gd name="connsiteX109" fmla="*/ 10643544 w 12886034"/>
              <a:gd name="connsiteY109" fmla="*/ 4790006 h 4808525"/>
              <a:gd name="connsiteX110" fmla="*/ 11388948 w 12886034"/>
              <a:gd name="connsiteY110" fmla="*/ 3994350 h 4808525"/>
              <a:gd name="connsiteX111" fmla="*/ 10643544 w 12886034"/>
              <a:gd name="connsiteY111" fmla="*/ 3198695 h 4808525"/>
              <a:gd name="connsiteX112" fmla="*/ 9898141 w 12886034"/>
              <a:gd name="connsiteY112" fmla="*/ 3994350 h 4808525"/>
              <a:gd name="connsiteX113" fmla="*/ 10643544 w 12886034"/>
              <a:gd name="connsiteY113" fmla="*/ 4790006 h 4808525"/>
              <a:gd name="connsiteX114" fmla="*/ 9112972 w 12886034"/>
              <a:gd name="connsiteY114" fmla="*/ 4790006 h 4808525"/>
              <a:gd name="connsiteX115" fmla="*/ 9748502 w 12886034"/>
              <a:gd name="connsiteY115" fmla="*/ 4291018 h 4808525"/>
              <a:gd name="connsiteX116" fmla="*/ 9342140 w 12886034"/>
              <a:gd name="connsiteY116" fmla="*/ 3831865 h 4808525"/>
              <a:gd name="connsiteX117" fmla="*/ 9048792 w 12886034"/>
              <a:gd name="connsiteY117" fmla="*/ 3758484 h 4808525"/>
              <a:gd name="connsiteX118" fmla="*/ 8838111 w 12886034"/>
              <a:gd name="connsiteY118" fmla="*/ 3556513 h 4808525"/>
              <a:gd name="connsiteX119" fmla="*/ 9097974 w 12886034"/>
              <a:gd name="connsiteY119" fmla="*/ 3360482 h 4808525"/>
              <a:gd name="connsiteX120" fmla="*/ 9409460 w 12886034"/>
              <a:gd name="connsiteY120" fmla="*/ 3654354 h 4808525"/>
              <a:gd name="connsiteX121" fmla="*/ 9715016 w 12886034"/>
              <a:gd name="connsiteY121" fmla="*/ 3562453 h 4808525"/>
              <a:gd name="connsiteX122" fmla="*/ 9128320 w 12886034"/>
              <a:gd name="connsiteY122" fmla="*/ 3198346 h 4808525"/>
              <a:gd name="connsiteX123" fmla="*/ 8544763 w 12886034"/>
              <a:gd name="connsiteY123" fmla="*/ 3638978 h 4808525"/>
              <a:gd name="connsiteX124" fmla="*/ 8914500 w 12886034"/>
              <a:gd name="connsiteY124" fmla="*/ 4079611 h 4808525"/>
              <a:gd name="connsiteX125" fmla="*/ 9220057 w 12886034"/>
              <a:gd name="connsiteY125" fmla="*/ 4156137 h 4808525"/>
              <a:gd name="connsiteX126" fmla="*/ 9455153 w 12886034"/>
              <a:gd name="connsiteY126" fmla="*/ 4382569 h 4808525"/>
              <a:gd name="connsiteX127" fmla="*/ 9152737 w 12886034"/>
              <a:gd name="connsiteY127" fmla="*/ 4627520 h 4808525"/>
              <a:gd name="connsiteX128" fmla="*/ 8804626 w 12886034"/>
              <a:gd name="connsiteY128" fmla="*/ 4272498 h 4808525"/>
              <a:gd name="connsiteX129" fmla="*/ 8480931 w 12886034"/>
              <a:gd name="connsiteY129" fmla="*/ 4364399 h 4808525"/>
              <a:gd name="connsiteX130" fmla="*/ 9112972 w 12886034"/>
              <a:gd name="connsiteY130" fmla="*/ 4790006 h 4808525"/>
              <a:gd name="connsiteX131" fmla="*/ 7386719 w 12886034"/>
              <a:gd name="connsiteY131" fmla="*/ 4759256 h 4808525"/>
              <a:gd name="connsiteX132" fmla="*/ 7386719 w 12886034"/>
              <a:gd name="connsiteY132" fmla="*/ 3770714 h 4808525"/>
              <a:gd name="connsiteX133" fmla="*/ 7689136 w 12886034"/>
              <a:gd name="connsiteY133" fmla="*/ 3412547 h 4808525"/>
              <a:gd name="connsiteX134" fmla="*/ 7948649 w 12886034"/>
              <a:gd name="connsiteY134" fmla="*/ 3712359 h 4808525"/>
              <a:gd name="connsiteX135" fmla="*/ 7948649 w 12886034"/>
              <a:gd name="connsiteY135" fmla="*/ 4759256 h 4808525"/>
              <a:gd name="connsiteX136" fmla="*/ 8309318 w 12886034"/>
              <a:gd name="connsiteY136" fmla="*/ 4759256 h 4808525"/>
              <a:gd name="connsiteX137" fmla="*/ 8309318 w 12886034"/>
              <a:gd name="connsiteY137" fmla="*/ 3709564 h 4808525"/>
              <a:gd name="connsiteX138" fmla="*/ 7826566 w 12886034"/>
              <a:gd name="connsiteY138" fmla="*/ 3198346 h 4808525"/>
              <a:gd name="connsiteX139" fmla="*/ 7404857 w 12886034"/>
              <a:gd name="connsiteY139" fmla="*/ 3421632 h 4808525"/>
              <a:gd name="connsiteX140" fmla="*/ 7386370 w 12886034"/>
              <a:gd name="connsiteY140" fmla="*/ 3421632 h 4808525"/>
              <a:gd name="connsiteX141" fmla="*/ 7386370 w 12886034"/>
              <a:gd name="connsiteY141" fmla="*/ 3228746 h 4808525"/>
              <a:gd name="connsiteX142" fmla="*/ 7025702 w 12886034"/>
              <a:gd name="connsiteY142" fmla="*/ 3228746 h 4808525"/>
              <a:gd name="connsiteX143" fmla="*/ 7025702 w 12886034"/>
              <a:gd name="connsiteY143" fmla="*/ 4758906 h 4808525"/>
              <a:gd name="connsiteX144" fmla="*/ 7386719 w 12886034"/>
              <a:gd name="connsiteY144" fmla="*/ 4758906 h 4808525"/>
              <a:gd name="connsiteX145" fmla="*/ 5813593 w 12886034"/>
              <a:gd name="connsiteY145" fmla="*/ 4759256 h 4808525"/>
              <a:gd name="connsiteX146" fmla="*/ 5813593 w 12886034"/>
              <a:gd name="connsiteY146" fmla="*/ 3770714 h 4808525"/>
              <a:gd name="connsiteX147" fmla="*/ 6116010 w 12886034"/>
              <a:gd name="connsiteY147" fmla="*/ 3412547 h 4808525"/>
              <a:gd name="connsiteX148" fmla="*/ 6375523 w 12886034"/>
              <a:gd name="connsiteY148" fmla="*/ 3712359 h 4808525"/>
              <a:gd name="connsiteX149" fmla="*/ 6375523 w 12886034"/>
              <a:gd name="connsiteY149" fmla="*/ 4759256 h 4808525"/>
              <a:gd name="connsiteX150" fmla="*/ 6736191 w 12886034"/>
              <a:gd name="connsiteY150" fmla="*/ 4759256 h 4808525"/>
              <a:gd name="connsiteX151" fmla="*/ 6736191 w 12886034"/>
              <a:gd name="connsiteY151" fmla="*/ 3709564 h 4808525"/>
              <a:gd name="connsiteX152" fmla="*/ 6253440 w 12886034"/>
              <a:gd name="connsiteY152" fmla="*/ 3198346 h 4808525"/>
              <a:gd name="connsiteX153" fmla="*/ 5831730 w 12886034"/>
              <a:gd name="connsiteY153" fmla="*/ 3421632 h 4808525"/>
              <a:gd name="connsiteX154" fmla="*/ 5813243 w 12886034"/>
              <a:gd name="connsiteY154" fmla="*/ 3421632 h 4808525"/>
              <a:gd name="connsiteX155" fmla="*/ 5813243 w 12886034"/>
              <a:gd name="connsiteY155" fmla="*/ 2616892 h 4808525"/>
              <a:gd name="connsiteX156" fmla="*/ 5452576 w 12886034"/>
              <a:gd name="connsiteY156" fmla="*/ 2616892 h 4808525"/>
              <a:gd name="connsiteX157" fmla="*/ 5452576 w 12886034"/>
              <a:gd name="connsiteY157" fmla="*/ 4759256 h 4808525"/>
              <a:gd name="connsiteX158" fmla="*/ 5813593 w 12886034"/>
              <a:gd name="connsiteY158" fmla="*/ 4759256 h 4808525"/>
              <a:gd name="connsiteX159" fmla="*/ 4493701 w 12886034"/>
              <a:gd name="connsiteY159" fmla="*/ 4621580 h 4808525"/>
              <a:gd name="connsiteX160" fmla="*/ 4127103 w 12886034"/>
              <a:gd name="connsiteY160" fmla="*/ 3994001 h 4808525"/>
              <a:gd name="connsiteX161" fmla="*/ 4493701 w 12886034"/>
              <a:gd name="connsiteY161" fmla="*/ 3366422 h 4808525"/>
              <a:gd name="connsiteX162" fmla="*/ 4860299 w 12886034"/>
              <a:gd name="connsiteY162" fmla="*/ 3994001 h 4808525"/>
              <a:gd name="connsiteX163" fmla="*/ 4493701 w 12886034"/>
              <a:gd name="connsiteY163" fmla="*/ 4621580 h 4808525"/>
              <a:gd name="connsiteX164" fmla="*/ 4493701 w 12886034"/>
              <a:gd name="connsiteY164" fmla="*/ 4790006 h 4808525"/>
              <a:gd name="connsiteX165" fmla="*/ 5239105 w 12886034"/>
              <a:gd name="connsiteY165" fmla="*/ 3994350 h 4808525"/>
              <a:gd name="connsiteX166" fmla="*/ 4493701 w 12886034"/>
              <a:gd name="connsiteY166" fmla="*/ 3198695 h 4808525"/>
              <a:gd name="connsiteX167" fmla="*/ 3748297 w 12886034"/>
              <a:gd name="connsiteY167" fmla="*/ 3994350 h 4808525"/>
              <a:gd name="connsiteX168" fmla="*/ 4493701 w 12886034"/>
              <a:gd name="connsiteY168" fmla="*/ 4790006 h 4808525"/>
              <a:gd name="connsiteX169" fmla="*/ 2825698 w 12886034"/>
              <a:gd name="connsiteY169" fmla="*/ 4808176 h 4808525"/>
              <a:gd name="connsiteX170" fmla="*/ 3534477 w 12886034"/>
              <a:gd name="connsiteY170" fmla="*/ 4101276 h 4808525"/>
              <a:gd name="connsiteX171" fmla="*/ 3534477 w 12886034"/>
              <a:gd name="connsiteY171" fmla="*/ 2616892 h 4808525"/>
              <a:gd name="connsiteX172" fmla="*/ 3155671 w 12886034"/>
              <a:gd name="connsiteY172" fmla="*/ 2616892 h 4808525"/>
              <a:gd name="connsiteX173" fmla="*/ 3155671 w 12886034"/>
              <a:gd name="connsiteY173" fmla="*/ 4199117 h 4808525"/>
              <a:gd name="connsiteX174" fmla="*/ 2825698 w 12886034"/>
              <a:gd name="connsiteY174" fmla="*/ 4609350 h 4808525"/>
              <a:gd name="connsiteX175" fmla="*/ 2495725 w 12886034"/>
              <a:gd name="connsiteY175" fmla="*/ 4168717 h 4808525"/>
              <a:gd name="connsiteX176" fmla="*/ 2495725 w 12886034"/>
              <a:gd name="connsiteY176" fmla="*/ 3874845 h 4808525"/>
              <a:gd name="connsiteX177" fmla="*/ 2116919 w 12886034"/>
              <a:gd name="connsiteY177" fmla="*/ 3969890 h 4808525"/>
              <a:gd name="connsiteX178" fmla="*/ 2116919 w 12886034"/>
              <a:gd name="connsiteY178" fmla="*/ 4101626 h 4808525"/>
              <a:gd name="connsiteX179" fmla="*/ 2825698 w 12886034"/>
              <a:gd name="connsiteY179" fmla="*/ 4808176 h 4808525"/>
              <a:gd name="connsiteX180" fmla="*/ 809585 w 12886034"/>
              <a:gd name="connsiteY180" fmla="*/ 4584890 h 4808525"/>
              <a:gd name="connsiteX181" fmla="*/ 335903 w 12886034"/>
              <a:gd name="connsiteY181" fmla="*/ 4092191 h 4808525"/>
              <a:gd name="connsiteX182" fmla="*/ 522166 w 12886034"/>
              <a:gd name="connsiteY182" fmla="*/ 3703623 h 4808525"/>
              <a:gd name="connsiteX183" fmla="*/ 1212807 w 12886034"/>
              <a:gd name="connsiteY183" fmla="*/ 4459444 h 4808525"/>
              <a:gd name="connsiteX184" fmla="*/ 809585 w 12886034"/>
              <a:gd name="connsiteY184" fmla="*/ 4584890 h 4808525"/>
              <a:gd name="connsiteX185" fmla="*/ 1178973 w 12886034"/>
              <a:gd name="connsiteY185" fmla="*/ 3489073 h 4808525"/>
              <a:gd name="connsiteX186" fmla="*/ 1579056 w 12886034"/>
              <a:gd name="connsiteY186" fmla="*/ 3880785 h 4808525"/>
              <a:gd name="connsiteX187" fmla="*/ 1481390 w 12886034"/>
              <a:gd name="connsiteY187" fmla="*/ 4208202 h 4808525"/>
              <a:gd name="connsiteX188" fmla="*/ 882834 w 12886034"/>
              <a:gd name="connsiteY188" fmla="*/ 3547078 h 4808525"/>
              <a:gd name="connsiteX189" fmla="*/ 1178973 w 12886034"/>
              <a:gd name="connsiteY189" fmla="*/ 3489073 h 4808525"/>
              <a:gd name="connsiteX190" fmla="*/ 809585 w 12886034"/>
              <a:gd name="connsiteY190" fmla="*/ 2730108 h 4808525"/>
              <a:gd name="connsiteX191" fmla="*/ 1096654 w 12886034"/>
              <a:gd name="connsiteY191" fmla="*/ 3023979 h 4808525"/>
              <a:gd name="connsiteX192" fmla="*/ 800167 w 12886034"/>
              <a:gd name="connsiteY192" fmla="*/ 3458672 h 4808525"/>
              <a:gd name="connsiteX193" fmla="*/ 668666 w 12886034"/>
              <a:gd name="connsiteY193" fmla="*/ 3311911 h 4808525"/>
              <a:gd name="connsiteX194" fmla="*/ 519027 w 12886034"/>
              <a:gd name="connsiteY194" fmla="*/ 3008954 h 4808525"/>
              <a:gd name="connsiteX195" fmla="*/ 809585 w 12886034"/>
              <a:gd name="connsiteY195" fmla="*/ 2730108 h 4808525"/>
              <a:gd name="connsiteX196" fmla="*/ 1576266 w 12886034"/>
              <a:gd name="connsiteY196" fmla="*/ 4312333 h 4808525"/>
              <a:gd name="connsiteX197" fmla="*/ 1835779 w 12886034"/>
              <a:gd name="connsiteY197" fmla="*/ 3715504 h 4808525"/>
              <a:gd name="connsiteX198" fmla="*/ 1435696 w 12886034"/>
              <a:gd name="connsiteY198" fmla="*/ 3326937 h 4808525"/>
              <a:gd name="connsiteX199" fmla="*/ 1069098 w 12886034"/>
              <a:gd name="connsiteY199" fmla="*/ 3400317 h 4808525"/>
              <a:gd name="connsiteX200" fmla="*/ 1062820 w 12886034"/>
              <a:gd name="connsiteY200" fmla="*/ 3388087 h 4808525"/>
              <a:gd name="connsiteX201" fmla="*/ 1392793 w 12886034"/>
              <a:gd name="connsiteY201" fmla="*/ 2984144 h 4808525"/>
              <a:gd name="connsiteX202" fmla="*/ 818305 w 12886034"/>
              <a:gd name="connsiteY202" fmla="*/ 2567971 h 4808525"/>
              <a:gd name="connsiteX203" fmla="*/ 189054 w 12886034"/>
              <a:gd name="connsiteY203" fmla="*/ 3097360 h 4808525"/>
              <a:gd name="connsiteX204" fmla="*/ 433569 w 12886034"/>
              <a:gd name="connsiteY204" fmla="*/ 3608578 h 4808525"/>
              <a:gd name="connsiteX205" fmla="*/ 436708 w 12886034"/>
              <a:gd name="connsiteY205" fmla="*/ 3614868 h 4808525"/>
              <a:gd name="connsiteX206" fmla="*/ 0 w 12886034"/>
              <a:gd name="connsiteY206" fmla="*/ 4230217 h 4808525"/>
              <a:gd name="connsiteX207" fmla="*/ 613903 w 12886034"/>
              <a:gd name="connsiteY207" fmla="*/ 4808526 h 4808525"/>
              <a:gd name="connsiteX208" fmla="*/ 1304544 w 12886034"/>
              <a:gd name="connsiteY208" fmla="*/ 4560779 h 4808525"/>
              <a:gd name="connsiteX209" fmla="*/ 1488017 w 12886034"/>
              <a:gd name="connsiteY209" fmla="*/ 4759605 h 4808525"/>
              <a:gd name="connsiteX210" fmla="*/ 1967629 w 12886034"/>
              <a:gd name="connsiteY210" fmla="*/ 4759605 h 4808525"/>
              <a:gd name="connsiteX211" fmla="*/ 1967629 w 12886034"/>
              <a:gd name="connsiteY211" fmla="*/ 4744230 h 4808525"/>
              <a:gd name="connsiteX212" fmla="*/ 1576266 w 12886034"/>
              <a:gd name="connsiteY212" fmla="*/ 4312333 h 480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2886034" h="4808525">
                <a:moveTo>
                  <a:pt x="9940695" y="2142364"/>
                </a:moveTo>
                <a:lnTo>
                  <a:pt x="9940695" y="1153823"/>
                </a:lnTo>
                <a:cubicBezTo>
                  <a:pt x="9940695" y="927391"/>
                  <a:pt x="10056848" y="795655"/>
                  <a:pt x="10243112" y="795655"/>
                </a:cubicBezTo>
                <a:cubicBezTo>
                  <a:pt x="10423446" y="795655"/>
                  <a:pt x="10502975" y="915161"/>
                  <a:pt x="10502975" y="1095467"/>
                </a:cubicBezTo>
                <a:lnTo>
                  <a:pt x="10502975" y="2142364"/>
                </a:lnTo>
                <a:lnTo>
                  <a:pt x="10863643" y="2142364"/>
                </a:lnTo>
                <a:lnTo>
                  <a:pt x="10863643" y="1092672"/>
                </a:lnTo>
                <a:cubicBezTo>
                  <a:pt x="10863643" y="777485"/>
                  <a:pt x="10698656" y="581454"/>
                  <a:pt x="10380892" y="581454"/>
                </a:cubicBezTo>
                <a:cubicBezTo>
                  <a:pt x="10154863" y="581454"/>
                  <a:pt x="10029641" y="679295"/>
                  <a:pt x="9959182" y="804741"/>
                </a:cubicBezTo>
                <a:lnTo>
                  <a:pt x="9940695" y="804741"/>
                </a:lnTo>
                <a:lnTo>
                  <a:pt x="9940695" y="611854"/>
                </a:lnTo>
                <a:lnTo>
                  <a:pt x="9580028" y="611854"/>
                </a:lnTo>
                <a:lnTo>
                  <a:pt x="9580028" y="2142015"/>
                </a:lnTo>
                <a:lnTo>
                  <a:pt x="9940695" y="2142015"/>
                </a:lnTo>
                <a:close/>
                <a:moveTo>
                  <a:pt x="8620803" y="2004688"/>
                </a:moveTo>
                <a:cubicBezTo>
                  <a:pt x="8385707" y="2004688"/>
                  <a:pt x="8254206" y="1781401"/>
                  <a:pt x="8254206" y="1377109"/>
                </a:cubicBezTo>
                <a:cubicBezTo>
                  <a:pt x="8254206" y="966877"/>
                  <a:pt x="8385707" y="749530"/>
                  <a:pt x="8620803" y="749530"/>
                </a:cubicBezTo>
                <a:cubicBezTo>
                  <a:pt x="8855901" y="749530"/>
                  <a:pt x="8987401" y="970022"/>
                  <a:pt x="8987401" y="1377109"/>
                </a:cubicBezTo>
                <a:cubicBezTo>
                  <a:pt x="8987401" y="1787342"/>
                  <a:pt x="8855901" y="2004688"/>
                  <a:pt x="8620803" y="2004688"/>
                </a:cubicBezTo>
                <a:moveTo>
                  <a:pt x="8620803" y="2173114"/>
                </a:moveTo>
                <a:cubicBezTo>
                  <a:pt x="9100416" y="2173114"/>
                  <a:pt x="9366208" y="1814947"/>
                  <a:pt x="9366208" y="1377459"/>
                </a:cubicBezTo>
                <a:cubicBezTo>
                  <a:pt x="9366208" y="939970"/>
                  <a:pt x="9100416" y="581803"/>
                  <a:pt x="8620803" y="581803"/>
                </a:cubicBezTo>
                <a:cubicBezTo>
                  <a:pt x="8141192" y="581803"/>
                  <a:pt x="7875400" y="939970"/>
                  <a:pt x="7875400" y="1377459"/>
                </a:cubicBezTo>
                <a:cubicBezTo>
                  <a:pt x="7875400" y="1814947"/>
                  <a:pt x="8141192" y="2173114"/>
                  <a:pt x="8620803" y="2173114"/>
                </a:cubicBezTo>
                <a:moveTo>
                  <a:pt x="7090232" y="2173114"/>
                </a:moveTo>
                <a:cubicBezTo>
                  <a:pt x="7502524" y="2173114"/>
                  <a:pt x="7725761" y="1980228"/>
                  <a:pt x="7725761" y="1674126"/>
                </a:cubicBezTo>
                <a:cubicBezTo>
                  <a:pt x="7725761" y="1386544"/>
                  <a:pt x="7527289" y="1267038"/>
                  <a:pt x="7319399" y="1214973"/>
                </a:cubicBezTo>
                <a:lnTo>
                  <a:pt x="7026051" y="1141592"/>
                </a:lnTo>
                <a:cubicBezTo>
                  <a:pt x="6879551" y="1104902"/>
                  <a:pt x="6815371" y="1037462"/>
                  <a:pt x="6815371" y="939621"/>
                </a:cubicBezTo>
                <a:cubicBezTo>
                  <a:pt x="6815371" y="817320"/>
                  <a:pt x="6919316" y="743590"/>
                  <a:pt x="7074884" y="743590"/>
                </a:cubicBezTo>
                <a:cubicBezTo>
                  <a:pt x="7258358" y="743590"/>
                  <a:pt x="7371372" y="844576"/>
                  <a:pt x="7386370" y="1037462"/>
                </a:cubicBezTo>
                <a:lnTo>
                  <a:pt x="7691926" y="945561"/>
                </a:lnTo>
                <a:cubicBezTo>
                  <a:pt x="7655302" y="731360"/>
                  <a:pt x="7444621" y="581454"/>
                  <a:pt x="7105231" y="581454"/>
                </a:cubicBezTo>
                <a:cubicBezTo>
                  <a:pt x="6772118" y="581454"/>
                  <a:pt x="6521674" y="722275"/>
                  <a:pt x="6521674" y="1022087"/>
                </a:cubicBezTo>
                <a:cubicBezTo>
                  <a:pt x="6521674" y="1276124"/>
                  <a:pt x="6695729" y="1413799"/>
                  <a:pt x="6891411" y="1462720"/>
                </a:cubicBezTo>
                <a:lnTo>
                  <a:pt x="7196967" y="1539245"/>
                </a:lnTo>
                <a:cubicBezTo>
                  <a:pt x="7358815" y="1579080"/>
                  <a:pt x="7432064" y="1637086"/>
                  <a:pt x="7432064" y="1765677"/>
                </a:cubicBezTo>
                <a:cubicBezTo>
                  <a:pt x="7432064" y="1921873"/>
                  <a:pt x="7322190" y="2010628"/>
                  <a:pt x="7129647" y="2010628"/>
                </a:cubicBezTo>
                <a:cubicBezTo>
                  <a:pt x="6921757" y="2010628"/>
                  <a:pt x="6815022" y="1909643"/>
                  <a:pt x="6781536" y="1655606"/>
                </a:cubicBezTo>
                <a:lnTo>
                  <a:pt x="6457842" y="1747506"/>
                </a:lnTo>
                <a:cubicBezTo>
                  <a:pt x="6475980" y="2010628"/>
                  <a:pt x="6720495" y="2173114"/>
                  <a:pt x="7090232" y="2173114"/>
                </a:cubicBezTo>
                <a:moveTo>
                  <a:pt x="5363978" y="2142364"/>
                </a:moveTo>
                <a:lnTo>
                  <a:pt x="5363978" y="1153823"/>
                </a:lnTo>
                <a:cubicBezTo>
                  <a:pt x="5363978" y="927391"/>
                  <a:pt x="5480132" y="795655"/>
                  <a:pt x="5666395" y="795655"/>
                </a:cubicBezTo>
                <a:cubicBezTo>
                  <a:pt x="5846729" y="795655"/>
                  <a:pt x="5926258" y="915161"/>
                  <a:pt x="5926258" y="1095467"/>
                </a:cubicBezTo>
                <a:lnTo>
                  <a:pt x="5926258" y="2142364"/>
                </a:lnTo>
                <a:lnTo>
                  <a:pt x="6286926" y="2142364"/>
                </a:lnTo>
                <a:lnTo>
                  <a:pt x="6286926" y="1092672"/>
                </a:lnTo>
                <a:cubicBezTo>
                  <a:pt x="6286926" y="777485"/>
                  <a:pt x="6121939" y="581454"/>
                  <a:pt x="5804175" y="581454"/>
                </a:cubicBezTo>
                <a:cubicBezTo>
                  <a:pt x="5578147" y="581454"/>
                  <a:pt x="5452925" y="679295"/>
                  <a:pt x="5382465" y="804741"/>
                </a:cubicBezTo>
                <a:lnTo>
                  <a:pt x="5363978" y="804741"/>
                </a:lnTo>
                <a:lnTo>
                  <a:pt x="5363978" y="611854"/>
                </a:lnTo>
                <a:lnTo>
                  <a:pt x="5003310" y="611854"/>
                </a:lnTo>
                <a:lnTo>
                  <a:pt x="5003310" y="2142015"/>
                </a:lnTo>
                <a:lnTo>
                  <a:pt x="5363978" y="2142015"/>
                </a:lnTo>
                <a:close/>
                <a:moveTo>
                  <a:pt x="3790851" y="2142364"/>
                </a:moveTo>
                <a:lnTo>
                  <a:pt x="3790851" y="1153823"/>
                </a:lnTo>
                <a:cubicBezTo>
                  <a:pt x="3790851" y="927391"/>
                  <a:pt x="3907005" y="795655"/>
                  <a:pt x="4093268" y="795655"/>
                </a:cubicBezTo>
                <a:cubicBezTo>
                  <a:pt x="4273603" y="795655"/>
                  <a:pt x="4352782" y="915161"/>
                  <a:pt x="4352782" y="1095467"/>
                </a:cubicBezTo>
                <a:lnTo>
                  <a:pt x="4352782" y="2142364"/>
                </a:lnTo>
                <a:lnTo>
                  <a:pt x="4713450" y="2142364"/>
                </a:lnTo>
                <a:lnTo>
                  <a:pt x="4713450" y="1092672"/>
                </a:lnTo>
                <a:cubicBezTo>
                  <a:pt x="4713450" y="777485"/>
                  <a:pt x="4548464" y="581454"/>
                  <a:pt x="4230699" y="581454"/>
                </a:cubicBezTo>
                <a:cubicBezTo>
                  <a:pt x="4004671" y="581454"/>
                  <a:pt x="3879449" y="679295"/>
                  <a:pt x="3808990" y="804741"/>
                </a:cubicBezTo>
                <a:lnTo>
                  <a:pt x="3790503" y="804741"/>
                </a:lnTo>
                <a:lnTo>
                  <a:pt x="3790503" y="0"/>
                </a:lnTo>
                <a:lnTo>
                  <a:pt x="3429835" y="0"/>
                </a:lnTo>
                <a:lnTo>
                  <a:pt x="3429835" y="2142364"/>
                </a:lnTo>
                <a:lnTo>
                  <a:pt x="3790851" y="2142364"/>
                </a:lnTo>
                <a:close/>
                <a:moveTo>
                  <a:pt x="2470960" y="2004688"/>
                </a:moveTo>
                <a:cubicBezTo>
                  <a:pt x="2235514" y="2004688"/>
                  <a:pt x="2104362" y="1781401"/>
                  <a:pt x="2104362" y="1377109"/>
                </a:cubicBezTo>
                <a:cubicBezTo>
                  <a:pt x="2104362" y="966877"/>
                  <a:pt x="2235863" y="749530"/>
                  <a:pt x="2470960" y="749530"/>
                </a:cubicBezTo>
                <a:cubicBezTo>
                  <a:pt x="2706057" y="749530"/>
                  <a:pt x="2837558" y="970022"/>
                  <a:pt x="2837558" y="1377109"/>
                </a:cubicBezTo>
                <a:cubicBezTo>
                  <a:pt x="2837906" y="1787342"/>
                  <a:pt x="2706406" y="2004688"/>
                  <a:pt x="2470960" y="2004688"/>
                </a:cubicBezTo>
                <a:moveTo>
                  <a:pt x="2470960" y="2173114"/>
                </a:moveTo>
                <a:cubicBezTo>
                  <a:pt x="2950572" y="2173114"/>
                  <a:pt x="3216364" y="1814947"/>
                  <a:pt x="3216364" y="1377459"/>
                </a:cubicBezTo>
                <a:cubicBezTo>
                  <a:pt x="3216364" y="939970"/>
                  <a:pt x="2950572" y="581803"/>
                  <a:pt x="2470960" y="581803"/>
                </a:cubicBezTo>
                <a:cubicBezTo>
                  <a:pt x="1991348" y="581803"/>
                  <a:pt x="1725556" y="939970"/>
                  <a:pt x="1725556" y="1377459"/>
                </a:cubicBezTo>
                <a:cubicBezTo>
                  <a:pt x="1725556" y="1814947"/>
                  <a:pt x="1991348" y="2173114"/>
                  <a:pt x="2470960" y="2173114"/>
                </a:cubicBezTo>
                <a:moveTo>
                  <a:pt x="802957" y="2191284"/>
                </a:moveTo>
                <a:cubicBezTo>
                  <a:pt x="1313264" y="2191284"/>
                  <a:pt x="1511736" y="1885182"/>
                  <a:pt x="1511736" y="1484385"/>
                </a:cubicBezTo>
                <a:lnTo>
                  <a:pt x="1511736" y="0"/>
                </a:lnTo>
                <a:lnTo>
                  <a:pt x="1132930" y="0"/>
                </a:lnTo>
                <a:lnTo>
                  <a:pt x="1132930" y="1582225"/>
                </a:lnTo>
                <a:cubicBezTo>
                  <a:pt x="1132930" y="1839407"/>
                  <a:pt x="1035264" y="1992458"/>
                  <a:pt x="802957" y="1992458"/>
                </a:cubicBezTo>
                <a:cubicBezTo>
                  <a:pt x="573790" y="1992458"/>
                  <a:pt x="472984" y="1830322"/>
                  <a:pt x="472984" y="1551825"/>
                </a:cubicBezTo>
                <a:lnTo>
                  <a:pt x="472984" y="1257953"/>
                </a:lnTo>
                <a:lnTo>
                  <a:pt x="94178" y="1352649"/>
                </a:lnTo>
                <a:lnTo>
                  <a:pt x="94178" y="1484385"/>
                </a:lnTo>
                <a:cubicBezTo>
                  <a:pt x="94178" y="1885182"/>
                  <a:pt x="292999" y="2191284"/>
                  <a:pt x="802957" y="2191284"/>
                </a:cubicBezTo>
                <a:moveTo>
                  <a:pt x="11963087" y="4759256"/>
                </a:moveTo>
                <a:lnTo>
                  <a:pt x="11963087" y="3770714"/>
                </a:lnTo>
                <a:cubicBezTo>
                  <a:pt x="11963087" y="3544283"/>
                  <a:pt x="12079241" y="3412547"/>
                  <a:pt x="12265504" y="3412547"/>
                </a:cubicBezTo>
                <a:cubicBezTo>
                  <a:pt x="12445838" y="3412547"/>
                  <a:pt x="12525366" y="3532053"/>
                  <a:pt x="12525366" y="3712359"/>
                </a:cubicBezTo>
                <a:lnTo>
                  <a:pt x="12525366" y="4759256"/>
                </a:lnTo>
                <a:lnTo>
                  <a:pt x="12886035" y="4759256"/>
                </a:lnTo>
                <a:lnTo>
                  <a:pt x="12886035" y="3709564"/>
                </a:lnTo>
                <a:cubicBezTo>
                  <a:pt x="12886035" y="3394377"/>
                  <a:pt x="12721048" y="3198346"/>
                  <a:pt x="12403283" y="3198346"/>
                </a:cubicBezTo>
                <a:cubicBezTo>
                  <a:pt x="12177256" y="3198346"/>
                  <a:pt x="12052034" y="3296186"/>
                  <a:pt x="11981574" y="3421632"/>
                </a:cubicBezTo>
                <a:lnTo>
                  <a:pt x="11963436" y="3421632"/>
                </a:lnTo>
                <a:lnTo>
                  <a:pt x="11963436" y="3228746"/>
                </a:lnTo>
                <a:lnTo>
                  <a:pt x="11602768" y="3228746"/>
                </a:lnTo>
                <a:lnTo>
                  <a:pt x="11602768" y="4758906"/>
                </a:lnTo>
                <a:lnTo>
                  <a:pt x="11963087" y="4758906"/>
                </a:lnTo>
                <a:close/>
                <a:moveTo>
                  <a:pt x="10643544" y="4621580"/>
                </a:moveTo>
                <a:cubicBezTo>
                  <a:pt x="10408448" y="4621580"/>
                  <a:pt x="10276946" y="4398293"/>
                  <a:pt x="10276946" y="3994001"/>
                </a:cubicBezTo>
                <a:cubicBezTo>
                  <a:pt x="10276946" y="3583769"/>
                  <a:pt x="10408448" y="3366422"/>
                  <a:pt x="10643544" y="3366422"/>
                </a:cubicBezTo>
                <a:cubicBezTo>
                  <a:pt x="10878641" y="3366422"/>
                  <a:pt x="11010143" y="3586913"/>
                  <a:pt x="11010143" y="3994001"/>
                </a:cubicBezTo>
                <a:cubicBezTo>
                  <a:pt x="11010143" y="4404234"/>
                  <a:pt x="10878641" y="4621580"/>
                  <a:pt x="10643544" y="4621580"/>
                </a:cubicBezTo>
                <a:moveTo>
                  <a:pt x="10643544" y="4790006"/>
                </a:moveTo>
                <a:cubicBezTo>
                  <a:pt x="11123156" y="4790006"/>
                  <a:pt x="11388948" y="4431839"/>
                  <a:pt x="11388948" y="3994350"/>
                </a:cubicBezTo>
                <a:cubicBezTo>
                  <a:pt x="11388948" y="3556513"/>
                  <a:pt x="11123156" y="3198695"/>
                  <a:pt x="10643544" y="3198695"/>
                </a:cubicBezTo>
                <a:cubicBezTo>
                  <a:pt x="10163933" y="3198695"/>
                  <a:pt x="9898141" y="3556862"/>
                  <a:pt x="9898141" y="3994350"/>
                </a:cubicBezTo>
                <a:cubicBezTo>
                  <a:pt x="9898141" y="4431839"/>
                  <a:pt x="10163933" y="4790006"/>
                  <a:pt x="10643544" y="4790006"/>
                </a:cubicBezTo>
                <a:moveTo>
                  <a:pt x="9112972" y="4790006"/>
                </a:moveTo>
                <a:cubicBezTo>
                  <a:pt x="9525264" y="4790006"/>
                  <a:pt x="9748502" y="4597119"/>
                  <a:pt x="9748502" y="4291018"/>
                </a:cubicBezTo>
                <a:cubicBezTo>
                  <a:pt x="9748502" y="4003435"/>
                  <a:pt x="9550029" y="3883930"/>
                  <a:pt x="9342140" y="3831865"/>
                </a:cubicBezTo>
                <a:lnTo>
                  <a:pt x="9048792" y="3758484"/>
                </a:lnTo>
                <a:cubicBezTo>
                  <a:pt x="8902292" y="3721794"/>
                  <a:pt x="8838111" y="3654354"/>
                  <a:pt x="8838111" y="3556513"/>
                </a:cubicBezTo>
                <a:cubicBezTo>
                  <a:pt x="8838111" y="3434212"/>
                  <a:pt x="8942056" y="3360482"/>
                  <a:pt x="9097974" y="3360482"/>
                </a:cubicBezTo>
                <a:cubicBezTo>
                  <a:pt x="9281446" y="3360482"/>
                  <a:pt x="9394461" y="3461468"/>
                  <a:pt x="9409460" y="3654354"/>
                </a:cubicBezTo>
                <a:lnTo>
                  <a:pt x="9715016" y="3562453"/>
                </a:lnTo>
                <a:cubicBezTo>
                  <a:pt x="9678391" y="3348252"/>
                  <a:pt x="9467711" y="3198346"/>
                  <a:pt x="9128320" y="3198346"/>
                </a:cubicBezTo>
                <a:cubicBezTo>
                  <a:pt x="8795208" y="3198346"/>
                  <a:pt x="8544763" y="3339167"/>
                  <a:pt x="8544763" y="3638978"/>
                </a:cubicBezTo>
                <a:cubicBezTo>
                  <a:pt x="8544763" y="3893015"/>
                  <a:pt x="8718819" y="4030691"/>
                  <a:pt x="8914500" y="4079611"/>
                </a:cubicBezTo>
                <a:lnTo>
                  <a:pt x="9220057" y="4156137"/>
                </a:lnTo>
                <a:cubicBezTo>
                  <a:pt x="9381903" y="4195972"/>
                  <a:pt x="9455153" y="4253978"/>
                  <a:pt x="9455153" y="4382569"/>
                </a:cubicBezTo>
                <a:cubicBezTo>
                  <a:pt x="9455153" y="4538764"/>
                  <a:pt x="9345279" y="4627520"/>
                  <a:pt x="9152737" y="4627520"/>
                </a:cubicBezTo>
                <a:cubicBezTo>
                  <a:pt x="8944846" y="4627520"/>
                  <a:pt x="8838111" y="4526535"/>
                  <a:pt x="8804626" y="4272498"/>
                </a:cubicBezTo>
                <a:lnTo>
                  <a:pt x="8480931" y="4364399"/>
                </a:lnTo>
                <a:cubicBezTo>
                  <a:pt x="8498720" y="4627520"/>
                  <a:pt x="8743235" y="4790006"/>
                  <a:pt x="9112972" y="4790006"/>
                </a:cubicBezTo>
                <a:moveTo>
                  <a:pt x="7386719" y="4759256"/>
                </a:moveTo>
                <a:lnTo>
                  <a:pt x="7386719" y="3770714"/>
                </a:lnTo>
                <a:cubicBezTo>
                  <a:pt x="7386719" y="3544283"/>
                  <a:pt x="7502872" y="3412547"/>
                  <a:pt x="7689136" y="3412547"/>
                </a:cubicBezTo>
                <a:cubicBezTo>
                  <a:pt x="7869470" y="3412547"/>
                  <a:pt x="7948649" y="3532053"/>
                  <a:pt x="7948649" y="3712359"/>
                </a:cubicBezTo>
                <a:lnTo>
                  <a:pt x="7948649" y="4759256"/>
                </a:lnTo>
                <a:lnTo>
                  <a:pt x="8309318" y="4759256"/>
                </a:lnTo>
                <a:lnTo>
                  <a:pt x="8309318" y="3709564"/>
                </a:lnTo>
                <a:cubicBezTo>
                  <a:pt x="8309318" y="3394377"/>
                  <a:pt x="8144331" y="3198346"/>
                  <a:pt x="7826566" y="3198346"/>
                </a:cubicBezTo>
                <a:cubicBezTo>
                  <a:pt x="7600539" y="3198346"/>
                  <a:pt x="7475317" y="3296186"/>
                  <a:pt x="7404857" y="3421632"/>
                </a:cubicBezTo>
                <a:lnTo>
                  <a:pt x="7386370" y="3421632"/>
                </a:lnTo>
                <a:lnTo>
                  <a:pt x="7386370" y="3228746"/>
                </a:lnTo>
                <a:lnTo>
                  <a:pt x="7025702" y="3228746"/>
                </a:lnTo>
                <a:lnTo>
                  <a:pt x="7025702" y="4758906"/>
                </a:lnTo>
                <a:lnTo>
                  <a:pt x="7386719" y="4758906"/>
                </a:lnTo>
                <a:close/>
                <a:moveTo>
                  <a:pt x="5813593" y="4759256"/>
                </a:moveTo>
                <a:lnTo>
                  <a:pt x="5813593" y="3770714"/>
                </a:lnTo>
                <a:cubicBezTo>
                  <a:pt x="5813593" y="3544283"/>
                  <a:pt x="5929746" y="3412547"/>
                  <a:pt x="6116010" y="3412547"/>
                </a:cubicBezTo>
                <a:cubicBezTo>
                  <a:pt x="6296343" y="3412547"/>
                  <a:pt x="6375523" y="3532053"/>
                  <a:pt x="6375523" y="3712359"/>
                </a:cubicBezTo>
                <a:lnTo>
                  <a:pt x="6375523" y="4759256"/>
                </a:lnTo>
                <a:lnTo>
                  <a:pt x="6736191" y="4759256"/>
                </a:lnTo>
                <a:lnTo>
                  <a:pt x="6736191" y="3709564"/>
                </a:lnTo>
                <a:cubicBezTo>
                  <a:pt x="6736191" y="3394377"/>
                  <a:pt x="6571205" y="3198346"/>
                  <a:pt x="6253440" y="3198346"/>
                </a:cubicBezTo>
                <a:cubicBezTo>
                  <a:pt x="6027412" y="3198346"/>
                  <a:pt x="5902190" y="3296186"/>
                  <a:pt x="5831730" y="3421632"/>
                </a:cubicBezTo>
                <a:lnTo>
                  <a:pt x="5813243" y="3421632"/>
                </a:lnTo>
                <a:lnTo>
                  <a:pt x="5813243" y="2616892"/>
                </a:lnTo>
                <a:lnTo>
                  <a:pt x="5452576" y="2616892"/>
                </a:lnTo>
                <a:lnTo>
                  <a:pt x="5452576" y="4759256"/>
                </a:lnTo>
                <a:lnTo>
                  <a:pt x="5813593" y="4759256"/>
                </a:lnTo>
                <a:close/>
                <a:moveTo>
                  <a:pt x="4493701" y="4621580"/>
                </a:moveTo>
                <a:cubicBezTo>
                  <a:pt x="4258604" y="4621580"/>
                  <a:pt x="4127103" y="4398293"/>
                  <a:pt x="4127103" y="3994001"/>
                </a:cubicBezTo>
                <a:cubicBezTo>
                  <a:pt x="4127103" y="3583769"/>
                  <a:pt x="4258604" y="3366422"/>
                  <a:pt x="4493701" y="3366422"/>
                </a:cubicBezTo>
                <a:cubicBezTo>
                  <a:pt x="4728798" y="3366422"/>
                  <a:pt x="4860299" y="3586913"/>
                  <a:pt x="4860299" y="3994001"/>
                </a:cubicBezTo>
                <a:cubicBezTo>
                  <a:pt x="4860299" y="4404234"/>
                  <a:pt x="4729147" y="4621580"/>
                  <a:pt x="4493701" y="4621580"/>
                </a:cubicBezTo>
                <a:moveTo>
                  <a:pt x="4493701" y="4790006"/>
                </a:moveTo>
                <a:cubicBezTo>
                  <a:pt x="4973313" y="4790006"/>
                  <a:pt x="5239105" y="4431839"/>
                  <a:pt x="5239105" y="3994350"/>
                </a:cubicBezTo>
                <a:cubicBezTo>
                  <a:pt x="5239105" y="3556513"/>
                  <a:pt x="4973313" y="3198695"/>
                  <a:pt x="4493701" y="3198695"/>
                </a:cubicBezTo>
                <a:cubicBezTo>
                  <a:pt x="4014089" y="3198695"/>
                  <a:pt x="3748297" y="3556862"/>
                  <a:pt x="3748297" y="3994350"/>
                </a:cubicBezTo>
                <a:cubicBezTo>
                  <a:pt x="3748297" y="4431839"/>
                  <a:pt x="4014089" y="4790006"/>
                  <a:pt x="4493701" y="4790006"/>
                </a:cubicBezTo>
                <a:moveTo>
                  <a:pt x="2825698" y="4808176"/>
                </a:moveTo>
                <a:cubicBezTo>
                  <a:pt x="3336005" y="4808176"/>
                  <a:pt x="3534477" y="4502074"/>
                  <a:pt x="3534477" y="4101276"/>
                </a:cubicBezTo>
                <a:lnTo>
                  <a:pt x="3534477" y="2616892"/>
                </a:lnTo>
                <a:lnTo>
                  <a:pt x="3155671" y="2616892"/>
                </a:lnTo>
                <a:lnTo>
                  <a:pt x="3155671" y="4199117"/>
                </a:lnTo>
                <a:cubicBezTo>
                  <a:pt x="3155671" y="4456299"/>
                  <a:pt x="3058005" y="4609350"/>
                  <a:pt x="2825698" y="4609350"/>
                </a:cubicBezTo>
                <a:cubicBezTo>
                  <a:pt x="2596531" y="4609350"/>
                  <a:pt x="2495725" y="4447214"/>
                  <a:pt x="2495725" y="4168717"/>
                </a:cubicBezTo>
                <a:lnTo>
                  <a:pt x="2495725" y="3874845"/>
                </a:lnTo>
                <a:lnTo>
                  <a:pt x="2116919" y="3969890"/>
                </a:lnTo>
                <a:lnTo>
                  <a:pt x="2116919" y="4101626"/>
                </a:lnTo>
                <a:cubicBezTo>
                  <a:pt x="2116919" y="4502074"/>
                  <a:pt x="2315391" y="4808176"/>
                  <a:pt x="2825698" y="4808176"/>
                </a:cubicBezTo>
                <a:moveTo>
                  <a:pt x="809585" y="4584890"/>
                </a:moveTo>
                <a:cubicBezTo>
                  <a:pt x="516237" y="4584890"/>
                  <a:pt x="335903" y="4346228"/>
                  <a:pt x="335903" y="4092191"/>
                </a:cubicBezTo>
                <a:cubicBezTo>
                  <a:pt x="335903" y="3933200"/>
                  <a:pt x="406013" y="3786089"/>
                  <a:pt x="522166" y="3703623"/>
                </a:cubicBezTo>
                <a:lnTo>
                  <a:pt x="1212807" y="4459444"/>
                </a:lnTo>
                <a:cubicBezTo>
                  <a:pt x="1084446" y="4535969"/>
                  <a:pt x="940737" y="4584890"/>
                  <a:pt x="809585" y="4584890"/>
                </a:cubicBezTo>
                <a:moveTo>
                  <a:pt x="1178973" y="3489073"/>
                </a:moveTo>
                <a:cubicBezTo>
                  <a:pt x="1426278" y="3489073"/>
                  <a:pt x="1579056" y="3633038"/>
                  <a:pt x="1579056" y="3880785"/>
                </a:cubicBezTo>
                <a:cubicBezTo>
                  <a:pt x="1579056" y="3990856"/>
                  <a:pt x="1548361" y="4104072"/>
                  <a:pt x="1481390" y="4208202"/>
                </a:cubicBezTo>
                <a:lnTo>
                  <a:pt x="882834" y="3547078"/>
                </a:lnTo>
                <a:cubicBezTo>
                  <a:pt x="989570" y="3504447"/>
                  <a:pt x="1093515" y="3489073"/>
                  <a:pt x="1178973" y="3489073"/>
                </a:cubicBezTo>
                <a:moveTo>
                  <a:pt x="809585" y="2730108"/>
                </a:moveTo>
                <a:cubicBezTo>
                  <a:pt x="989919" y="2730108"/>
                  <a:pt x="1096654" y="2834238"/>
                  <a:pt x="1096654" y="3023979"/>
                </a:cubicBezTo>
                <a:cubicBezTo>
                  <a:pt x="1096654" y="3198346"/>
                  <a:pt x="1011196" y="3363627"/>
                  <a:pt x="800167" y="3458672"/>
                </a:cubicBezTo>
                <a:lnTo>
                  <a:pt x="668666" y="3311911"/>
                </a:lnTo>
                <a:cubicBezTo>
                  <a:pt x="552513" y="3183320"/>
                  <a:pt x="519027" y="3103650"/>
                  <a:pt x="519027" y="3008954"/>
                </a:cubicBezTo>
                <a:cubicBezTo>
                  <a:pt x="519027" y="2831093"/>
                  <a:pt x="632390" y="2730108"/>
                  <a:pt x="809585" y="2730108"/>
                </a:cubicBezTo>
                <a:moveTo>
                  <a:pt x="1576266" y="4312333"/>
                </a:moveTo>
                <a:cubicBezTo>
                  <a:pt x="1741252" y="4116302"/>
                  <a:pt x="1835779" y="3902101"/>
                  <a:pt x="1835779" y="3715504"/>
                </a:cubicBezTo>
                <a:cubicBezTo>
                  <a:pt x="1835779" y="3482783"/>
                  <a:pt x="1679862" y="3326937"/>
                  <a:pt x="1435696" y="3326937"/>
                </a:cubicBezTo>
                <a:cubicBezTo>
                  <a:pt x="1307335" y="3326937"/>
                  <a:pt x="1163625" y="3363627"/>
                  <a:pt x="1069098" y="3400317"/>
                </a:cubicBezTo>
                <a:lnTo>
                  <a:pt x="1062820" y="3388087"/>
                </a:lnTo>
                <a:cubicBezTo>
                  <a:pt x="1295126" y="3262641"/>
                  <a:pt x="1392793" y="3146280"/>
                  <a:pt x="1392793" y="2984144"/>
                </a:cubicBezTo>
                <a:cubicBezTo>
                  <a:pt x="1392793" y="2751423"/>
                  <a:pt x="1184903" y="2567971"/>
                  <a:pt x="818305" y="2567971"/>
                </a:cubicBezTo>
                <a:cubicBezTo>
                  <a:pt x="396595" y="2567971"/>
                  <a:pt x="189054" y="2803488"/>
                  <a:pt x="189054" y="3097360"/>
                </a:cubicBezTo>
                <a:cubicBezTo>
                  <a:pt x="189054" y="3256351"/>
                  <a:pt x="256374" y="3415692"/>
                  <a:pt x="433569" y="3608578"/>
                </a:cubicBezTo>
                <a:lnTo>
                  <a:pt x="436708" y="3614868"/>
                </a:lnTo>
                <a:cubicBezTo>
                  <a:pt x="137431" y="3758833"/>
                  <a:pt x="0" y="3991205"/>
                  <a:pt x="0" y="4230217"/>
                </a:cubicBezTo>
                <a:cubicBezTo>
                  <a:pt x="0" y="4545404"/>
                  <a:pt x="241376" y="4808526"/>
                  <a:pt x="613903" y="4808526"/>
                </a:cubicBezTo>
                <a:cubicBezTo>
                  <a:pt x="827723" y="4808526"/>
                  <a:pt x="1078167" y="4719770"/>
                  <a:pt x="1304544" y="4560779"/>
                </a:cubicBezTo>
                <a:lnTo>
                  <a:pt x="1488017" y="4759605"/>
                </a:lnTo>
                <a:lnTo>
                  <a:pt x="1967629" y="4759605"/>
                </a:lnTo>
                <a:lnTo>
                  <a:pt x="1967629" y="4744230"/>
                </a:lnTo>
                <a:lnTo>
                  <a:pt x="1576266" y="4312333"/>
                </a:lnTo>
                <a:close/>
              </a:path>
            </a:pathLst>
          </a:custGeom>
          <a:solidFill>
            <a:schemeClr val="bg1"/>
          </a:solidFill>
          <a:ln w="34866"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768011265"/>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4806" y="319681"/>
            <a:ext cx="9231631" cy="2230919"/>
          </a:xfrm>
        </p:spPr>
        <p:txBody>
          <a:bodyPr anchor="t"/>
          <a:lstStyle>
            <a:lvl1pPr>
              <a:lnSpc>
                <a:spcPct val="80000"/>
              </a:lnSpc>
              <a:defRPr sz="8880" spc="0" baseline="0">
                <a:solidFill>
                  <a:schemeClr val="tx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r>
              <a:rPr lang="en-GB" dirty="0"/>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008872208"/>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ection Header 2">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4806" y="320047"/>
            <a:ext cx="9231631" cy="2230919"/>
          </a:xfrm>
        </p:spPr>
        <p:txBody>
          <a:bodyPr anchor="t"/>
          <a:lstStyle>
            <a:lvl1pPr>
              <a:lnSpc>
                <a:spcPct val="80000"/>
              </a:lnSpc>
              <a:defRPr sz="8880" spc="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r>
              <a:rPr lang="en-GB" dirty="0"/>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4" name="Graphic 8">
            <a:extLst>
              <a:ext uri="{FF2B5EF4-FFF2-40B4-BE49-F238E27FC236}">
                <a16:creationId xmlns:a16="http://schemas.microsoft.com/office/drawing/2014/main" id="{1BEEFE38-569A-A8EF-1D54-81764BE3F5BA}"/>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876012129"/>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Section Header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7261" y="319681"/>
            <a:ext cx="6878405" cy="3324140"/>
          </a:xfrm>
        </p:spPr>
        <p:txBody>
          <a:bodyPr anchor="t"/>
          <a:lstStyle>
            <a:lvl1pPr>
              <a:lnSpc>
                <a:spcPct val="80000"/>
              </a:lnSpc>
              <a:defRPr sz="8880" spc="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r>
              <a:rPr lang="en-GB" dirty="0"/>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3" name="Graphic 8">
            <a:extLst>
              <a:ext uri="{FF2B5EF4-FFF2-40B4-BE49-F238E27FC236}">
                <a16:creationId xmlns:a16="http://schemas.microsoft.com/office/drawing/2014/main" id="{D45A48FB-9AA7-F5E5-80E7-97EC299F000F}"/>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
        <p:nvSpPr>
          <p:cNvPr id="4" name="Picture Placeholder 3">
            <a:extLst>
              <a:ext uri="{FF2B5EF4-FFF2-40B4-BE49-F238E27FC236}">
                <a16:creationId xmlns:a16="http://schemas.microsoft.com/office/drawing/2014/main" id="{E97FF01E-CE3E-39E2-D61B-0FA837B6BDA6}"/>
              </a:ext>
            </a:extLst>
          </p:cNvPr>
          <p:cNvSpPr>
            <a:spLocks noGrp="1"/>
          </p:cNvSpPr>
          <p:nvPr>
            <p:ph type="pic" sz="quarter" idx="13" hasCustomPrompt="1"/>
          </p:nvPr>
        </p:nvSpPr>
        <p:spPr>
          <a:xfrm>
            <a:off x="7874858" y="0"/>
            <a:ext cx="6755543" cy="8229600"/>
          </a:xfrm>
          <a:solidFill>
            <a:srgbClr val="F6F3F2"/>
          </a:solidFill>
        </p:spPr>
        <p:txBody>
          <a:bodyPr/>
          <a:lstStyle>
            <a:lvl1pPr>
              <a:defRPr lang="en-US"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4174169509"/>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Header with Imag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7261" y="324001"/>
            <a:ext cx="6878405" cy="3324140"/>
          </a:xfrm>
        </p:spPr>
        <p:txBody>
          <a:bodyPr anchor="t"/>
          <a:lstStyle>
            <a:lvl1pPr>
              <a:lnSpc>
                <a:spcPct val="80000"/>
              </a:lnSpc>
              <a:defRPr sz="8880" spc="0" baseline="0">
                <a:solidFill>
                  <a:schemeClr val="tx2"/>
                </a:solidFill>
              </a:defRPr>
            </a:lvl1pPr>
          </a:lstStyle>
          <a:p>
            <a:r>
              <a:rPr lang="en-US"/>
              <a:t>Click to edit Master title style</a:t>
            </a:r>
            <a:endParaRPr lang="en-GB"/>
          </a:p>
        </p:txBody>
      </p:sp>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7399020" y="0"/>
            <a:ext cx="7231380" cy="8229600"/>
          </a:xfrm>
          <a:solidFill>
            <a:srgbClr val="F6F3F2"/>
          </a:solidFill>
        </p:spPr>
        <p:txBody>
          <a:bodyPr/>
          <a:lstStyle>
            <a:lvl1pPr>
              <a:defRPr b="0" i="0">
                <a:latin typeface="+mn-lt"/>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tx1"/>
                </a:solidFill>
              </a:defRPr>
            </a:lvl1pPr>
          </a:lstStyle>
          <a:p>
            <a:r>
              <a:rPr lang="en-GB" dirty="0"/>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05983913"/>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344059" y="328321"/>
            <a:ext cx="2174351" cy="470898"/>
          </a:xfrm>
        </p:spPr>
        <p:txBody>
          <a:bodyPr/>
          <a:lstStyle>
            <a:lvl1pPr>
              <a:lnSpc>
                <a:spcPct val="85000"/>
              </a:lnSpc>
              <a:defRPr sz="1800" b="1" i="0">
                <a:solidFill>
                  <a:schemeClr val="tx1"/>
                </a:solidFill>
                <a:latin typeface="+mn-lt"/>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870961" y="332640"/>
            <a:ext cx="10759440" cy="7194017"/>
          </a:xfrm>
        </p:spPr>
        <p:txBody>
          <a:bodyPr/>
          <a:lstStyle>
            <a:lvl1pPr marL="1177290" indent="-1177290">
              <a:lnSpc>
                <a:spcPct val="80000"/>
              </a:lnSpc>
              <a:spcBef>
                <a:spcPts val="720"/>
              </a:spcBef>
              <a:spcAft>
                <a:spcPts val="720"/>
              </a:spcAft>
              <a:buFont typeface="+mj-lt"/>
              <a:buAutoNum type="arabicPeriod"/>
              <a:tabLst/>
              <a:defRPr sz="3600" b="0" i="0">
                <a:latin typeface="+mj-lt"/>
              </a:defRPr>
            </a:lvl1pPr>
            <a:lvl2pPr marL="1442086" indent="-264796">
              <a:tabLst/>
              <a:defRPr/>
            </a:lvl2pPr>
            <a:lvl3pPr marL="1442086" indent="-264796">
              <a:tabLst/>
              <a:defRPr/>
            </a:lvl3pPr>
            <a:lvl4pPr marL="1442086" indent="-264796">
              <a:tabLst/>
              <a:defRPr/>
            </a:lvl4pPr>
            <a:lvl5pPr marL="1442086" indent="-26479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924826439"/>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344059" y="328321"/>
            <a:ext cx="2174351" cy="470898"/>
          </a:xfrm>
        </p:spPr>
        <p:txBody>
          <a:bodyPr/>
          <a:lstStyle>
            <a:lvl1pPr>
              <a:lnSpc>
                <a:spcPct val="85000"/>
              </a:lnSpc>
              <a:defRPr sz="1800" b="1" i="0">
                <a:solidFill>
                  <a:schemeClr val="tx1"/>
                </a:solidFill>
                <a:latin typeface="+mn-lt"/>
              </a:defRPr>
            </a:lvl1pPr>
          </a:lstStyle>
          <a:p>
            <a:r>
              <a:rPr lang="en-US"/>
              <a:t>Click to edit Master title style</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870959" y="111975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870960" y="278126"/>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5048250" y="278126"/>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10927755" y="278126"/>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870959" y="646793"/>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870960" y="750566"/>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5048250" y="750566"/>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10927755" y="750566"/>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870960" y="1226635"/>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5048250" y="1226635"/>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10927755" y="1226635"/>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870959" y="1602183"/>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870960" y="1702703"/>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5048250" y="1702703"/>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10927755" y="1702703"/>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870959" y="2084608"/>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870960" y="2178772"/>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5048250" y="2178772"/>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10927755" y="2178772"/>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870959" y="2548114"/>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870960" y="2654841"/>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5048250" y="2654841"/>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10927755" y="2654841"/>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870959" y="3030538"/>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870960" y="3129183"/>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5048250" y="3129183"/>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10927755" y="3129183"/>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870959" y="3503504"/>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870960" y="3603525"/>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5048250" y="3603525"/>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10927755" y="3603525"/>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870959" y="397646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870960" y="4077867"/>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5048250" y="4077867"/>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10927755" y="4077867"/>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870959" y="4458893"/>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870960" y="4552209"/>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5048250" y="4552209"/>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10927755" y="4552209"/>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870959" y="492239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870960" y="5022934"/>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5048250" y="5022934"/>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10927755" y="5022934"/>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870959" y="539536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870960" y="5493659"/>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5048250" y="5493659"/>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10927755" y="5493659"/>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870959" y="586832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870960" y="5962823"/>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5048250" y="5962823"/>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10927755" y="5962823"/>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870959" y="633183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870960" y="6431987"/>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5048250" y="6431987"/>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10927755" y="6431987"/>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189520024"/>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344804" y="323859"/>
            <a:ext cx="13938334" cy="6002654"/>
          </a:xfrm>
        </p:spPr>
        <p:txBody>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p>
            <a:r>
              <a:rPr lang="en-GB" dirty="0"/>
              <a:t>Slide footer goes here if required</a:t>
            </a:r>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537848168"/>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tx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345964" y="328321"/>
            <a:ext cx="2174351" cy="470898"/>
          </a:xfrm>
        </p:spPr>
        <p:txBody>
          <a:bodyPr/>
          <a:lstStyle>
            <a:lvl1pPr>
              <a:lnSpc>
                <a:spcPct val="85000"/>
              </a:lnSpc>
              <a:defRPr sz="1800" b="1" i="0">
                <a:solidFill>
                  <a:schemeClr val="bg1"/>
                </a:solidFill>
                <a:latin typeface="+mn-lt"/>
              </a:defRPr>
            </a:lvl1pPr>
          </a:lstStyle>
          <a:p>
            <a:r>
              <a:rPr lang="en-US"/>
              <a:t>Click to edit Master title style</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870959" y="34924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9749789" y="632460"/>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bg1"/>
                </a:solidFill>
              </a:defRPr>
            </a:lvl1p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870959" y="2738877"/>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9749789" y="3022092"/>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870959" y="5143763"/>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9749789" y="5426978"/>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870959" y="7545587"/>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870960" y="133350"/>
            <a:ext cx="4531996" cy="2146936"/>
          </a:xfrm>
        </p:spPr>
        <p:txBody>
          <a:bodyPr/>
          <a:lstStyle>
            <a:lvl1pPr>
              <a:defRPr sz="13200">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870960" y="2523140"/>
            <a:ext cx="4531996" cy="2146936"/>
          </a:xfrm>
        </p:spPr>
        <p:txBody>
          <a:bodyPr/>
          <a:lstStyle>
            <a:lvl1pPr>
              <a:defRPr sz="13200">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870960" y="4927354"/>
            <a:ext cx="4531996" cy="2146936"/>
          </a:xfrm>
        </p:spPr>
        <p:txBody>
          <a:bodyPr/>
          <a:lstStyle>
            <a:lvl1pPr>
              <a:defRPr sz="13200">
                <a:solidFill>
                  <a:schemeClr val="bg1"/>
                </a:solidFill>
                <a:latin typeface="+mj-lt"/>
              </a:defRPr>
            </a:lvl1pPr>
          </a:lstStyle>
          <a:p>
            <a:pPr lvl="0"/>
            <a:r>
              <a:rPr lang="en-GB"/>
              <a:t>00</a:t>
            </a:r>
          </a:p>
        </p:txBody>
      </p:sp>
      <p:sp>
        <p:nvSpPr>
          <p:cNvPr id="2" name="Graphic 8">
            <a:extLst>
              <a:ext uri="{FF2B5EF4-FFF2-40B4-BE49-F238E27FC236}">
                <a16:creationId xmlns:a16="http://schemas.microsoft.com/office/drawing/2014/main" id="{87803E29-408D-BDC5-463B-8562EADCC69D}"/>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4252952792"/>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rgbClr val="F6F3F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345964" y="328320"/>
            <a:ext cx="2174351" cy="476438"/>
          </a:xfrm>
        </p:spPr>
        <p:txBody>
          <a:bodyPr/>
          <a:lstStyle>
            <a:lvl1pPr>
              <a:lnSpc>
                <a:spcPct val="85000"/>
              </a:lnSpc>
              <a:defRPr sz="1800" b="1" i="0">
                <a:solidFill>
                  <a:schemeClr val="tx1"/>
                </a:solidFill>
                <a:latin typeface="Johnson Text" pitchFamily="2" charset="77"/>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D816501-AAE5-214E-B100-00C3DC5F5E3F}" type="slidenum">
              <a:rPr lang="en-US" smtClean="0"/>
              <a:pPr/>
              <a:t>‹#›</a:t>
            </a:fld>
            <a:endParaRPr lang="en-US" dirty="0"/>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870959" y="34924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9749789" y="632460"/>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870959" y="2738877"/>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9749789" y="3022092"/>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870959" y="5143763"/>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9749789" y="5426978"/>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870959" y="7545587"/>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870960" y="133350"/>
            <a:ext cx="4531996" cy="2146936"/>
          </a:xfrm>
        </p:spPr>
        <p:txBody>
          <a:bodyPr/>
          <a:lstStyle>
            <a:lvl1pPr>
              <a:defRPr sz="13200">
                <a:solidFill>
                  <a:schemeClr val="tx2"/>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870960" y="2523140"/>
            <a:ext cx="4531996" cy="2146936"/>
          </a:xfrm>
        </p:spPr>
        <p:txBody>
          <a:bodyPr/>
          <a:lstStyle>
            <a:lvl1pPr>
              <a:defRPr sz="13200">
                <a:solidFill>
                  <a:schemeClr val="tx2"/>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870960" y="4927354"/>
            <a:ext cx="4531996" cy="2146936"/>
          </a:xfrm>
        </p:spPr>
        <p:txBody>
          <a:bodyPr/>
          <a:lstStyle>
            <a:lvl1pPr>
              <a:defRPr sz="13200">
                <a:solidFill>
                  <a:schemeClr val="tx2"/>
                </a:solidFill>
                <a:latin typeface="+mj-lt"/>
              </a:defRPr>
            </a:lvl1pPr>
          </a:lstStyle>
          <a:p>
            <a:pPr lvl="0"/>
            <a:r>
              <a:rPr lang="en-GB"/>
              <a:t>00</a:t>
            </a:r>
          </a:p>
        </p:txBody>
      </p:sp>
    </p:spTree>
    <p:extLst>
      <p:ext uri="{BB962C8B-B14F-4D97-AF65-F5344CB8AC3E}">
        <p14:creationId xmlns:p14="http://schemas.microsoft.com/office/powerpoint/2010/main" val="3152991831"/>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0" y="2394474"/>
            <a:ext cx="1317752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4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5"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7" name="Text Placeholder 3">
            <a:extLst>
              <a:ext uri="{FF2B5EF4-FFF2-40B4-BE49-F238E27FC236}">
                <a16:creationId xmlns:a16="http://schemas.microsoft.com/office/drawing/2014/main" id="{D0A5A7B7-A1D0-FE41-896A-B621B4C61E68}"/>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345964" y="314720"/>
            <a:ext cx="6879701" cy="562308"/>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7400161" y="324000"/>
            <a:ext cx="6884670" cy="7210030"/>
          </a:xfrm>
        </p:spPr>
        <p:txBody>
          <a:bodyPr/>
          <a:lstStyle>
            <a:lvl1pPr>
              <a:defRPr sz="2160"/>
            </a:lvl1pPr>
            <a:lvl2pPr>
              <a:defRPr sz="2160"/>
            </a:lvl2pPr>
            <a:lvl3pPr>
              <a:defRPr sz="192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p:nvPr>
        </p:nvSpPr>
        <p:spPr>
          <a:xfrm>
            <a:off x="346710" y="5299828"/>
            <a:ext cx="4533900" cy="2179202"/>
          </a:xfrm>
        </p:spPr>
        <p:txBody>
          <a:body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GB" dirty="0"/>
              <a:t>Slide footer goes here if required</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345963" y="856345"/>
            <a:ext cx="6879700" cy="337336"/>
          </a:xfrm>
        </p:spPr>
        <p:txBody>
          <a:bodyPr wrap="square" anchor="t">
            <a:spAutoFit/>
          </a:bodyPr>
          <a:lstStyle>
            <a:lvl1pPr marL="0" indent="0" algn="l">
              <a:lnSpc>
                <a:spcPct val="110000"/>
              </a:lnSpc>
              <a:spcBef>
                <a:spcPts val="0"/>
              </a:spcBef>
              <a:spcAft>
                <a:spcPts val="0"/>
              </a:spcAft>
              <a:buNone/>
              <a:tabLst/>
              <a:defRPr lang="en-GB" sz="2160" b="1" dirty="0" smtClean="0">
                <a:solidFill>
                  <a:schemeClr val="tx1"/>
                </a:solidFill>
                <a:latin typeface="+mn-lt"/>
              </a:defRPr>
            </a:lvl1pPr>
            <a:lvl2pPr marL="0" indent="0" algn="l">
              <a:lnSpc>
                <a:spcPct val="110000"/>
              </a:lnSpc>
              <a:spcBef>
                <a:spcPts val="0"/>
              </a:spcBef>
              <a:spcAft>
                <a:spcPts val="0"/>
              </a:spcAft>
              <a:buNone/>
              <a:tabLst/>
              <a:defRPr lang="en-GB" sz="2160" dirty="0" smtClean="0">
                <a:solidFill>
                  <a:schemeClr val="tx1"/>
                </a:solidFill>
                <a:latin typeface="+mn-lt"/>
              </a:defRPr>
            </a:lvl2pPr>
            <a:lvl3pPr marL="0" indent="0" algn="l">
              <a:lnSpc>
                <a:spcPct val="110000"/>
              </a:lnSpc>
              <a:spcBef>
                <a:spcPts val="0"/>
              </a:spcBef>
              <a:spcAft>
                <a:spcPts val="0"/>
              </a:spcAft>
              <a:buNone/>
              <a:tabLst/>
              <a:defRPr lang="en-GB" sz="2160" dirty="0" smtClean="0">
                <a:solidFill>
                  <a:schemeClr val="tx1"/>
                </a:solidFill>
                <a:latin typeface="+mn-lt"/>
              </a:defRPr>
            </a:lvl3pPr>
            <a:lvl4pPr marL="0" indent="0" algn="l">
              <a:lnSpc>
                <a:spcPct val="110000"/>
              </a:lnSpc>
              <a:spcBef>
                <a:spcPts val="0"/>
              </a:spcBef>
              <a:spcAft>
                <a:spcPts val="0"/>
              </a:spcAft>
              <a:buNone/>
              <a:tabLst/>
              <a:defRPr lang="en-GB" sz="2160" dirty="0" smtClean="0">
                <a:solidFill>
                  <a:schemeClr val="tx1"/>
                </a:solidFill>
                <a:latin typeface="+mn-lt"/>
              </a:defRPr>
            </a:lvl4pPr>
            <a:lvl5pPr marL="0" indent="0" algn="l">
              <a:lnSpc>
                <a:spcPct val="110000"/>
              </a:lnSpc>
              <a:spcBef>
                <a:spcPts val="0"/>
              </a:spcBef>
              <a:spcAft>
                <a:spcPts val="0"/>
              </a:spcAft>
              <a:buNone/>
              <a:tabLst/>
              <a:defRPr lang="en-GB" sz="2160" dirty="0" smtClean="0">
                <a:solidFill>
                  <a:schemeClr val="tx1"/>
                </a:solidFill>
                <a:latin typeface="+mn-lt"/>
              </a:defRPr>
            </a:lvl5pPr>
            <a:lvl6pPr marL="0" indent="0" algn="l">
              <a:lnSpc>
                <a:spcPct val="110000"/>
              </a:lnSpc>
              <a:spcBef>
                <a:spcPts val="0"/>
              </a:spcBef>
              <a:spcAft>
                <a:spcPts val="0"/>
              </a:spcAft>
              <a:buNone/>
              <a:tabLst/>
              <a:defRPr lang="en-GB" sz="2160" dirty="0" smtClean="0">
                <a:solidFill>
                  <a:schemeClr val="tx1"/>
                </a:solidFill>
                <a:latin typeface="+mn-lt"/>
              </a:defRPr>
            </a:lvl6pPr>
            <a:lvl7pPr marL="0" indent="0" algn="l">
              <a:lnSpc>
                <a:spcPct val="110000"/>
              </a:lnSpc>
              <a:spcBef>
                <a:spcPts val="0"/>
              </a:spcBef>
              <a:spcAft>
                <a:spcPts val="0"/>
              </a:spcAft>
              <a:buNone/>
              <a:tabLst/>
              <a:defRPr lang="en-GB" sz="2160" dirty="0" smtClean="0">
                <a:solidFill>
                  <a:schemeClr val="tx1"/>
                </a:solidFill>
                <a:latin typeface="+mn-lt"/>
              </a:defRPr>
            </a:lvl7pPr>
            <a:lvl8pPr marL="0" indent="0" algn="l">
              <a:lnSpc>
                <a:spcPct val="110000"/>
              </a:lnSpc>
              <a:spcBef>
                <a:spcPts val="0"/>
              </a:spcBef>
              <a:spcAft>
                <a:spcPts val="0"/>
              </a:spcAft>
              <a:buNone/>
              <a:tabLst/>
              <a:defRPr lang="en-GB" sz="2160" dirty="0" smtClean="0">
                <a:solidFill>
                  <a:schemeClr val="tx1"/>
                </a:solidFill>
                <a:latin typeface="+mn-lt"/>
              </a:defRPr>
            </a:lvl8pPr>
            <a:lvl9pPr marL="0" indent="0" algn="l">
              <a:lnSpc>
                <a:spcPct val="110000"/>
              </a:lnSpc>
              <a:spcBef>
                <a:spcPts val="0"/>
              </a:spcBef>
              <a:spcAft>
                <a:spcPts val="0"/>
              </a:spcAft>
              <a:buNone/>
              <a:tabLst/>
              <a:defRPr lang="en-GB" sz="216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3940984528"/>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9749790" y="354241"/>
            <a:ext cx="4533900"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GB" dirty="0"/>
              <a:t>Slide footer goes here if required</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345963" y="856345"/>
            <a:ext cx="6879700" cy="337336"/>
          </a:xfrm>
        </p:spPr>
        <p:txBody>
          <a:bodyPr wrap="square" anchor="t">
            <a:spAutoFit/>
          </a:bodyPr>
          <a:lstStyle>
            <a:lvl1pPr marL="0" indent="0" algn="l">
              <a:lnSpc>
                <a:spcPct val="110000"/>
              </a:lnSpc>
              <a:spcBef>
                <a:spcPts val="0"/>
              </a:spcBef>
              <a:spcAft>
                <a:spcPts val="0"/>
              </a:spcAft>
              <a:buNone/>
              <a:tabLst/>
              <a:defRPr lang="en-GB" sz="2160" b="1" dirty="0" smtClean="0">
                <a:solidFill>
                  <a:schemeClr val="tx1"/>
                </a:solidFill>
                <a:latin typeface="+mn-lt"/>
              </a:defRPr>
            </a:lvl1pPr>
            <a:lvl2pPr marL="0" indent="0" algn="l">
              <a:lnSpc>
                <a:spcPct val="110000"/>
              </a:lnSpc>
              <a:spcBef>
                <a:spcPts val="0"/>
              </a:spcBef>
              <a:spcAft>
                <a:spcPts val="0"/>
              </a:spcAft>
              <a:buNone/>
              <a:tabLst/>
              <a:defRPr lang="en-GB" sz="2160" dirty="0" smtClean="0">
                <a:solidFill>
                  <a:schemeClr val="tx1"/>
                </a:solidFill>
                <a:latin typeface="+mn-lt"/>
              </a:defRPr>
            </a:lvl2pPr>
            <a:lvl3pPr marL="0" indent="0" algn="l">
              <a:lnSpc>
                <a:spcPct val="110000"/>
              </a:lnSpc>
              <a:spcBef>
                <a:spcPts val="0"/>
              </a:spcBef>
              <a:spcAft>
                <a:spcPts val="0"/>
              </a:spcAft>
              <a:buNone/>
              <a:tabLst/>
              <a:defRPr lang="en-GB" sz="2160" dirty="0" smtClean="0">
                <a:solidFill>
                  <a:schemeClr val="tx1"/>
                </a:solidFill>
                <a:latin typeface="+mn-lt"/>
              </a:defRPr>
            </a:lvl3pPr>
            <a:lvl4pPr marL="0" indent="0" algn="l">
              <a:lnSpc>
                <a:spcPct val="110000"/>
              </a:lnSpc>
              <a:spcBef>
                <a:spcPts val="0"/>
              </a:spcBef>
              <a:spcAft>
                <a:spcPts val="0"/>
              </a:spcAft>
              <a:buNone/>
              <a:tabLst/>
              <a:defRPr lang="en-GB" sz="2160" dirty="0" smtClean="0">
                <a:solidFill>
                  <a:schemeClr val="tx1"/>
                </a:solidFill>
                <a:latin typeface="+mn-lt"/>
              </a:defRPr>
            </a:lvl4pPr>
            <a:lvl5pPr marL="0" indent="0" algn="l">
              <a:lnSpc>
                <a:spcPct val="110000"/>
              </a:lnSpc>
              <a:spcBef>
                <a:spcPts val="0"/>
              </a:spcBef>
              <a:spcAft>
                <a:spcPts val="0"/>
              </a:spcAft>
              <a:buNone/>
              <a:tabLst/>
              <a:defRPr lang="en-GB" sz="2160" dirty="0" smtClean="0">
                <a:solidFill>
                  <a:schemeClr val="tx1"/>
                </a:solidFill>
                <a:latin typeface="+mn-lt"/>
              </a:defRPr>
            </a:lvl5pPr>
            <a:lvl6pPr marL="0" indent="0" algn="l">
              <a:lnSpc>
                <a:spcPct val="110000"/>
              </a:lnSpc>
              <a:spcBef>
                <a:spcPts val="0"/>
              </a:spcBef>
              <a:spcAft>
                <a:spcPts val="0"/>
              </a:spcAft>
              <a:buNone/>
              <a:tabLst/>
              <a:defRPr lang="en-GB" sz="2160" dirty="0" smtClean="0">
                <a:solidFill>
                  <a:schemeClr val="tx1"/>
                </a:solidFill>
                <a:latin typeface="+mn-lt"/>
              </a:defRPr>
            </a:lvl6pPr>
            <a:lvl7pPr marL="0" indent="0" algn="l">
              <a:lnSpc>
                <a:spcPct val="110000"/>
              </a:lnSpc>
              <a:spcBef>
                <a:spcPts val="0"/>
              </a:spcBef>
              <a:spcAft>
                <a:spcPts val="0"/>
              </a:spcAft>
              <a:buNone/>
              <a:tabLst/>
              <a:defRPr lang="en-GB" sz="2160" dirty="0" smtClean="0">
                <a:solidFill>
                  <a:schemeClr val="tx1"/>
                </a:solidFill>
                <a:latin typeface="+mn-lt"/>
              </a:defRPr>
            </a:lvl7pPr>
            <a:lvl8pPr marL="0" indent="0" algn="l">
              <a:lnSpc>
                <a:spcPct val="110000"/>
              </a:lnSpc>
              <a:spcBef>
                <a:spcPts val="0"/>
              </a:spcBef>
              <a:spcAft>
                <a:spcPts val="0"/>
              </a:spcAft>
              <a:buNone/>
              <a:tabLst/>
              <a:defRPr lang="en-GB" sz="2160" dirty="0" smtClean="0">
                <a:solidFill>
                  <a:schemeClr val="tx1"/>
                </a:solidFill>
                <a:latin typeface="+mn-lt"/>
              </a:defRPr>
            </a:lvl8pPr>
            <a:lvl9pPr marL="0" indent="0" algn="l">
              <a:lnSpc>
                <a:spcPct val="110000"/>
              </a:lnSpc>
              <a:spcBef>
                <a:spcPts val="0"/>
              </a:spcBef>
              <a:spcAft>
                <a:spcPts val="0"/>
              </a:spcAft>
              <a:buNone/>
              <a:tabLst/>
              <a:defRPr lang="en-GB" sz="216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234287590"/>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1" y="2186939"/>
            <a:ext cx="6878404" cy="53378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2" y="2186940"/>
            <a:ext cx="6880859"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p:nvPr>
        </p:nvSpPr>
        <p:spPr>
          <a:xfrm>
            <a:off x="9749790" y="354241"/>
            <a:ext cx="4533900"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367683336"/>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1" y="2186941"/>
            <a:ext cx="4527635"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5050707" y="2186941"/>
            <a:ext cx="452763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9755504" y="2186941"/>
            <a:ext cx="452763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9750240" y="354241"/>
            <a:ext cx="4528186"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581891916"/>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350519" y="1567817"/>
            <a:ext cx="4524377" cy="2289809"/>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5048251" y="1567817"/>
            <a:ext cx="4530091" cy="2289809"/>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9749789" y="1567817"/>
            <a:ext cx="4530090" cy="2289809"/>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346710" y="4029076"/>
            <a:ext cx="452304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5048251" y="4029076"/>
            <a:ext cx="453168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9749789" y="4029076"/>
            <a:ext cx="453168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60053510"/>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2" y="2186939"/>
            <a:ext cx="3352249" cy="53378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4" y="2186940"/>
            <a:ext cx="3354703"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870961" y="2186940"/>
            <a:ext cx="3352250"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10925176" y="2186940"/>
            <a:ext cx="335470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389537834"/>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350521" y="1567817"/>
            <a:ext cx="3348990" cy="2289809"/>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870960" y="1567818"/>
            <a:ext cx="3354706" cy="2287903"/>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7399020" y="1567816"/>
            <a:ext cx="3354706" cy="2289810"/>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10925176" y="1567815"/>
            <a:ext cx="3359868" cy="2287906"/>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346711" y="4029076"/>
            <a:ext cx="334899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879738" y="4029076"/>
            <a:ext cx="3355387"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7410385" y="4029076"/>
            <a:ext cx="3355387"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10925176" y="4029076"/>
            <a:ext cx="336096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25167688"/>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2" y="2197553"/>
            <a:ext cx="3352249" cy="2272666"/>
          </a:xfrm>
        </p:spPr>
        <p:txBody>
          <a:bodyPr/>
          <a:lstStyle>
            <a:lvl1pPr>
              <a:defRPr sz="1680"/>
            </a:lvl1pPr>
            <a:lvl2pPr>
              <a:defRPr sz="1680"/>
            </a:lvl2pPr>
            <a:lvl3pPr>
              <a:defRPr sz="1440"/>
            </a:lvl3pPr>
            <a:lvl4pPr>
              <a:defRPr sz="3840"/>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3" y="2197553"/>
            <a:ext cx="3352250"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870961" y="2197553"/>
            <a:ext cx="3364230" cy="2272666"/>
          </a:xfrm>
        </p:spPr>
        <p:txBody>
          <a:bodyPr/>
          <a:lstStyle>
            <a:lvl1pPr>
              <a:defRPr sz="1680"/>
            </a:lvl1pPr>
            <a:lvl2pPr>
              <a:defRPr sz="1680"/>
            </a:lvl2pPr>
            <a:lvl3pPr>
              <a:defRPr sz="1440"/>
            </a:lvl3pPr>
            <a:lvl4pPr>
              <a:defRPr lang="en-GB" sz="3840" b="0" i="0" kern="1200" dirty="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10927084" y="2197553"/>
            <a:ext cx="3352796"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347262" y="4646295"/>
            <a:ext cx="3352249" cy="2272664"/>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7399021" y="4646294"/>
            <a:ext cx="3354706"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870961" y="4646295"/>
            <a:ext cx="3354706" cy="2272664"/>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10925176" y="4646294"/>
            <a:ext cx="3354704"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526005087"/>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1" y="1567816"/>
            <a:ext cx="6878404" cy="59569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7399021" y="1567816"/>
            <a:ext cx="6884670" cy="5956934"/>
          </a:xfrm>
          <a:solidFill>
            <a:schemeClr val="bg1"/>
          </a:solidFill>
        </p:spPr>
        <p:txBody>
          <a:bodyPr/>
          <a:lstStyle/>
          <a:p>
            <a:r>
              <a:rPr lang="en-US" dirty="0"/>
              <a:t>Click icon to add chart</a:t>
            </a:r>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p:nvPr>
        </p:nvSpPr>
        <p:spPr>
          <a:xfrm>
            <a:off x="12100561" y="396239"/>
            <a:ext cx="2179320" cy="1009651"/>
          </a:xfrm>
        </p:spPr>
        <p:txBody>
          <a:bodyPr/>
          <a:lstStyle>
            <a:lvl1pPr>
              <a:spcBef>
                <a:spcPts val="0"/>
              </a:spcBef>
              <a:spcAft>
                <a:spcPts val="360"/>
              </a:spcAft>
              <a:defRPr sz="960" b="0" i="0">
                <a:latin typeface="+mn-lt"/>
              </a:defRPr>
            </a:lvl1pPr>
            <a:lvl2pPr marL="112396" indent="-112396">
              <a:spcBef>
                <a:spcPts val="0"/>
              </a:spcBef>
              <a:spcAft>
                <a:spcPts val="360"/>
              </a:spcAft>
              <a:tabLst/>
              <a:defRPr sz="960" b="0" i="0">
                <a:latin typeface="+mn-lt"/>
              </a:defRPr>
            </a:lvl2pPr>
            <a:lvl3pPr marL="215266" indent="-102870">
              <a:spcBef>
                <a:spcPts val="0"/>
              </a:spcBef>
              <a:spcAft>
                <a:spcPts val="360"/>
              </a:spcAft>
              <a:tabLst/>
              <a:defRPr sz="960" b="0" i="0">
                <a:latin typeface="+mn-lt"/>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364387724"/>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9749046"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350520" y="1567815"/>
            <a:ext cx="4524376" cy="4733924"/>
          </a:xfrm>
          <a:solidFill>
            <a:schemeClr val="bg1"/>
          </a:solidFill>
        </p:spPr>
        <p:txBody>
          <a:bodyPr/>
          <a:lstStyle/>
          <a:p>
            <a:r>
              <a:rPr lang="en-US" dirty="0"/>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p:nvPr>
        </p:nvSpPr>
        <p:spPr>
          <a:xfrm>
            <a:off x="349776" y="6473190"/>
            <a:ext cx="452512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5048250" y="1567816"/>
            <a:ext cx="4530091" cy="4733923"/>
          </a:xfrm>
          <a:solidFill>
            <a:schemeClr val="bg1"/>
          </a:solidFill>
        </p:spPr>
        <p:txBody>
          <a:bodyPr/>
          <a:lstStyle/>
          <a:p>
            <a:r>
              <a:rPr lang="en-US" dirty="0"/>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p:nvPr>
        </p:nvSpPr>
        <p:spPr>
          <a:xfrm>
            <a:off x="5048249" y="6473190"/>
            <a:ext cx="453009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9749790" y="1567815"/>
            <a:ext cx="4524376" cy="4733924"/>
          </a:xfrm>
          <a:solidFill>
            <a:schemeClr val="bg1"/>
          </a:solidFill>
        </p:spPr>
        <p:txBody>
          <a:bodyPr/>
          <a:lstStyle/>
          <a:p>
            <a:r>
              <a:rPr lang="en-US" dirty="0"/>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p:nvPr>
        </p:nvSpPr>
        <p:spPr>
          <a:xfrm>
            <a:off x="9749046" y="6473190"/>
            <a:ext cx="452512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5520788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1"/>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0" y="2833803"/>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5169332"/>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F26A83DB-15DE-5F4B-B02D-DC4E407EC08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1" y="537727"/>
            <a:ext cx="3794119" cy="694460"/>
          </a:xfrm>
          <a:prstGeom prst="rect">
            <a:avLst/>
          </a:prstGeom>
        </p:spPr>
      </p:pic>
    </p:spTree>
    <p:extLst>
      <p:ext uri="{BB962C8B-B14F-4D97-AF65-F5344CB8AC3E}">
        <p14:creationId xmlns:p14="http://schemas.microsoft.com/office/powerpoint/2010/main" val="1888329459"/>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26440" y="2055499"/>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7422776" y="2055497"/>
            <a:ext cx="6482080" cy="5003610"/>
          </a:xfrm>
        </p:spPr>
        <p:txBody>
          <a:bodyPr/>
          <a:lstStyle>
            <a:lvl1pPr marL="0" indent="0">
              <a:buNone/>
              <a:defRPr sz="2400"/>
            </a:lvl1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B425E56B-E4E3-AAD1-76B4-3D67B284EB4B}"/>
              </a:ext>
            </a:extLst>
          </p:cNvPr>
          <p:cNvSpPr>
            <a:spLocks noGrp="1"/>
          </p:cNvSpPr>
          <p:nvPr>
            <p:ph type="ftr" sz="quarter" idx="11"/>
          </p:nvPr>
        </p:nvSpPr>
        <p:spPr>
          <a:xfrm>
            <a:off x="1520189" y="7696200"/>
            <a:ext cx="5705476" cy="184156"/>
          </a:xfrm>
        </p:spPr>
        <p:txBody>
          <a:bodyPr/>
          <a:lstStyle/>
          <a:p>
            <a:r>
              <a:rPr lang="en-GB" dirty="0"/>
              <a:t>Slide footer goes here if required</a:t>
            </a:r>
          </a:p>
        </p:txBody>
      </p:sp>
      <p:sp>
        <p:nvSpPr>
          <p:cNvPr id="9" name="Slide Number Placeholder 4">
            <a:extLst>
              <a:ext uri="{FF2B5EF4-FFF2-40B4-BE49-F238E27FC236}">
                <a16:creationId xmlns:a16="http://schemas.microsoft.com/office/drawing/2014/main" id="{703E3838-150C-B34D-4F16-CEA95E3C0B04}"/>
              </a:ext>
            </a:extLst>
          </p:cNvPr>
          <p:cNvSpPr>
            <a:spLocks noGrp="1"/>
          </p:cNvSpPr>
          <p:nvPr>
            <p:ph type="sldNum" sz="quarter" idx="12"/>
          </p:nvPr>
        </p:nvSpPr>
        <p:spPr>
          <a:xfrm>
            <a:off x="13277850" y="7696200"/>
            <a:ext cx="1005289" cy="184156"/>
          </a:xfrm>
        </p:spPr>
        <p:txBody>
          <a:bodyPr/>
          <a:lstStyle/>
          <a:p>
            <a:fld id="{AD816501-AAE5-214E-B100-00C3DC5F5E3F}" type="slidenum">
              <a:rPr lang="en-US" smtClean="0"/>
              <a:pPr/>
              <a:t>‹#›</a:t>
            </a:fld>
            <a:endParaRPr lang="en-US" dirty="0"/>
          </a:p>
        </p:txBody>
      </p:sp>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350521" y="3417570"/>
            <a:ext cx="13933170" cy="3772222"/>
          </a:xfrm>
        </p:spPr>
        <p:txBody>
          <a:bodyPr/>
          <a:lstStyle/>
          <a:p>
            <a:r>
              <a:rPr lang="en-US" dirty="0"/>
              <a:t>Click icon to add table</a:t>
            </a:r>
            <a:endParaRPr lang="en-GB" dirty="0"/>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p:nvPr>
        </p:nvSpPr>
        <p:spPr>
          <a:xfrm>
            <a:off x="9749046"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917769028"/>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9749790" y="352230"/>
            <a:ext cx="4533900"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333062152"/>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15D6A6F-0428-2EB9-8170-122B4D25678A}"/>
              </a:ext>
            </a:extLst>
          </p:cNvPr>
          <p:cNvSpPr>
            <a:spLocks noGrp="1"/>
          </p:cNvSpPr>
          <p:nvPr>
            <p:ph type="ftr" sz="quarter" idx="11"/>
          </p:nvPr>
        </p:nvSpPr>
        <p:spPr/>
        <p:txBody>
          <a:bodyPr/>
          <a:lstStyle/>
          <a:p>
            <a:r>
              <a:rPr lang="en-GB" dirty="0"/>
              <a:t>Slide footer goes here if required</a:t>
            </a:r>
          </a:p>
        </p:txBody>
      </p:sp>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642380047"/>
      </p:ext>
    </p:extLst>
  </p:cSld>
  <p:clrMapOvr>
    <a:masterClrMapping/>
  </p:clrMapOvr>
  <p:transition>
    <p:fade/>
  </p:transition>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4630400" cy="8229600"/>
          </a:xfrm>
          <a:solidFill>
            <a:srgbClr val="F6F3F2"/>
          </a:solidFill>
        </p:spPr>
        <p:txBody>
          <a:bodyPr vert="horz" lIns="0" tIns="0" rIns="0" bIns="0" rtlCol="0" anchor="ctr">
            <a:noAutofit/>
          </a:bodyPr>
          <a:lstStyle>
            <a:lvl1pPr algn="ct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37160" y="7315200"/>
            <a:ext cx="1211580" cy="79248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80" b="0" i="0" dirty="0">
              <a:latin typeface="Johnson Text" pitchFamily="2" charset="77"/>
            </a:endParaRPr>
          </a:p>
        </p:txBody>
      </p:sp>
      <p:sp>
        <p:nvSpPr>
          <p:cNvPr id="3" name="Title 2">
            <a:extLst>
              <a:ext uri="{FF2B5EF4-FFF2-40B4-BE49-F238E27FC236}">
                <a16:creationId xmlns:a16="http://schemas.microsoft.com/office/drawing/2014/main" id="{10079C00-CC52-F9ED-ED36-A8FC0573506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345962" y="856344"/>
            <a:ext cx="11579334"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16985926"/>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870960" y="0"/>
            <a:ext cx="10759440" cy="82296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2" y="2806065"/>
            <a:ext cx="3352249"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345964" y="315360"/>
            <a:ext cx="3352249" cy="1648143"/>
          </a:xfrm>
        </p:spPr>
        <p:txBody>
          <a:bodyPr/>
          <a:lstStyle/>
          <a:p>
            <a:r>
              <a:rPr lang="en-US"/>
              <a:t>Click to edit Master title style</a:t>
            </a:r>
            <a:endParaRPr lang="en-GB"/>
          </a:p>
        </p:txBody>
      </p:sp>
    </p:spTree>
    <p:extLst>
      <p:ext uri="{BB962C8B-B14F-4D97-AF65-F5344CB8AC3E}">
        <p14:creationId xmlns:p14="http://schemas.microsoft.com/office/powerpoint/2010/main" val="2642890350"/>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7" y="0"/>
            <a:ext cx="7225662" cy="82296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345963" y="856344"/>
            <a:ext cx="6878404"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345964" y="314720"/>
            <a:ext cx="6878402" cy="562308"/>
          </a:xfrm>
        </p:spPr>
        <p:txBody>
          <a:bodyPr/>
          <a:lstStyle/>
          <a:p>
            <a:r>
              <a:rPr lang="en-GB"/>
              <a:t>Master title style</a:t>
            </a:r>
          </a:p>
        </p:txBody>
      </p:sp>
    </p:spTree>
    <p:extLst>
      <p:ext uri="{BB962C8B-B14F-4D97-AF65-F5344CB8AC3E}">
        <p14:creationId xmlns:p14="http://schemas.microsoft.com/office/powerpoint/2010/main" val="2210593277"/>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1" y="0"/>
            <a:ext cx="7225662" cy="82296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37160" y="7315200"/>
            <a:ext cx="1211580" cy="79248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80" b="0" i="0" dirty="0">
              <a:latin typeface="Johnson Text" pitchFamily="2" charset="77"/>
            </a:endParaRP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7586110" y="5252086"/>
            <a:ext cx="6697027" cy="2272663"/>
          </a:xfrm>
        </p:spPr>
        <p:txBody>
          <a:bodyPr/>
          <a:lstStyle>
            <a:lvl4pPr>
              <a:defRPr sz="60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7588558" y="335430"/>
            <a:ext cx="6694580" cy="3279667"/>
          </a:xfrm>
        </p:spPr>
        <p:txBody>
          <a:bodyPr/>
          <a:lstStyle>
            <a:lvl1pPr>
              <a:lnSpc>
                <a:spcPct val="80000"/>
              </a:lnSpc>
              <a:defRPr sz="8880"/>
            </a:lvl1pPr>
          </a:lstStyle>
          <a:p>
            <a:r>
              <a:rPr lang="en-US"/>
              <a:t>Click to edit Master title style</a:t>
            </a:r>
          </a:p>
        </p:txBody>
      </p:sp>
    </p:spTree>
    <p:extLst>
      <p:ext uri="{BB962C8B-B14F-4D97-AF65-F5344CB8AC3E}">
        <p14:creationId xmlns:p14="http://schemas.microsoft.com/office/powerpoint/2010/main" val="1829579898"/>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7" y="0"/>
            <a:ext cx="7225662" cy="41148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7404737" y="4114800"/>
            <a:ext cx="7225662" cy="41148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345964" y="315361"/>
            <a:ext cx="6879702" cy="545435"/>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345963" y="856344"/>
            <a:ext cx="6878404"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983793435"/>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8" y="0"/>
            <a:ext cx="3612833" cy="41148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7404737" y="4114800"/>
            <a:ext cx="7225662" cy="411480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11017568" y="0"/>
            <a:ext cx="3612833" cy="4114800"/>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345964" y="315361"/>
            <a:ext cx="6879702" cy="545435"/>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345963" y="856344"/>
            <a:ext cx="6878404"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363415196"/>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399021" y="2806066"/>
            <a:ext cx="6880861" cy="4718682"/>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2100561"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6" indent="-112396">
              <a:spcBef>
                <a:spcPts val="0"/>
              </a:spcBef>
              <a:spcAft>
                <a:spcPts val="360"/>
              </a:spcAft>
              <a:tabLst/>
              <a:defRPr lang="en-GB" sz="1200" b="0" i="0" kern="1200" dirty="0">
                <a:solidFill>
                  <a:schemeClr val="tx1"/>
                </a:solidFill>
                <a:latin typeface="+mn-lt"/>
                <a:ea typeface="+mn-ea"/>
                <a:cs typeface="+mn-cs"/>
              </a:defRPr>
            </a:lvl2pPr>
            <a:lvl3pPr marL="215266" indent="-102870">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345964" y="314720"/>
            <a:ext cx="10407016" cy="549382"/>
          </a:xfrm>
        </p:spPr>
        <p:txBody>
          <a:bodyPr/>
          <a:lstStyle/>
          <a:p>
            <a:r>
              <a:rPr lang="en-US"/>
              <a:t>Click to edit Master title style</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345962" y="856344"/>
            <a:ext cx="1040701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28790780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o layou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26440" y="2055499"/>
            <a:ext cx="6482080" cy="5003608"/>
          </a:xfrm>
        </p:spPr>
        <p:txBody>
          <a:bodyPr/>
          <a:lstStyle>
            <a:lvl1pPr marL="0" indent="0">
              <a:buNone/>
              <a:defRPr>
                <a:solidFill>
                  <a:srgbClr val="595959"/>
                </a:solidFill>
              </a:defRPr>
            </a:lvl1pPr>
            <a:lvl2pPr marL="260604" indent="0">
              <a:buNone/>
              <a:defRPr>
                <a:solidFill>
                  <a:srgbClr val="595959"/>
                </a:solidFill>
              </a:defRPr>
            </a:lvl2pPr>
            <a:lvl3pPr marL="636422" indent="0">
              <a:buNone/>
              <a:defRPr>
                <a:solidFill>
                  <a:srgbClr val="595959"/>
                </a:solidFill>
              </a:defRPr>
            </a:lvl3pPr>
            <a:lvl4pPr marL="1075334" indent="0">
              <a:buNone/>
              <a:defRPr>
                <a:solidFill>
                  <a:srgbClr val="595959"/>
                </a:solidFill>
              </a:defRPr>
            </a:lvl4pPr>
            <a:lvl5pPr marL="1556195" indent="0">
              <a:buNone/>
              <a:defRPr>
                <a:solidFill>
                  <a:srgbClr val="595959"/>
                </a:solidFill>
              </a:defRPr>
            </a:lvl5pPr>
          </a:lstStyle>
          <a:p>
            <a:pPr lvl="0"/>
            <a:r>
              <a:rPr lang="en-US"/>
              <a:t>Edit Master text styles</a:t>
            </a:r>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0" y="454149"/>
            <a:ext cx="6588760" cy="692497"/>
          </a:xfrm>
        </p:spPr>
        <p:txBody>
          <a:bodyPr/>
          <a:lstStyle>
            <a:lvl1pPr>
              <a:defRPr kern="1500" spc="-100" baseline="0">
                <a:solidFill>
                  <a:schemeClr val="tx1"/>
                </a:solidFill>
              </a:defRPr>
            </a:lvl1pPr>
          </a:lstStyle>
          <a:p>
            <a:r>
              <a:rPr lang="en-US"/>
              <a:t>Click to edit Master title</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Content Placeholder 30">
            <a:extLst>
              <a:ext uri="{FF2B5EF4-FFF2-40B4-BE49-F238E27FC236}">
                <a16:creationId xmlns:a16="http://schemas.microsoft.com/office/drawing/2014/main" id="{37E9AC5D-F6EB-CE40-9936-5793341DCC66}"/>
              </a:ext>
            </a:extLst>
          </p:cNvPr>
          <p:cNvSpPr>
            <a:spLocks noGrp="1"/>
          </p:cNvSpPr>
          <p:nvPr>
            <p:ph sz="quarter" idx="18"/>
          </p:nvPr>
        </p:nvSpPr>
        <p:spPr>
          <a:xfrm>
            <a:off x="7755027" y="952797"/>
            <a:ext cx="6164354" cy="6163459"/>
          </a:xfrm>
        </p:spPr>
        <p:txBody>
          <a:bodyPr/>
          <a:lstStyle/>
          <a:p>
            <a:endParaRPr lang="en-US"/>
          </a:p>
        </p:txBody>
      </p:sp>
      <p:sp>
        <p:nvSpPr>
          <p:cNvPr id="18" name="Text Placeholder 4">
            <a:extLst>
              <a:ext uri="{FF2B5EF4-FFF2-40B4-BE49-F238E27FC236}">
                <a16:creationId xmlns:a16="http://schemas.microsoft.com/office/drawing/2014/main" id="{9F61B276-111F-0F49-AA22-140F5A6A7DE0}"/>
              </a:ext>
            </a:extLst>
          </p:cNvPr>
          <p:cNvSpPr>
            <a:spLocks noGrp="1"/>
          </p:cNvSpPr>
          <p:nvPr>
            <p:ph type="body" sz="quarter" idx="10"/>
          </p:nvPr>
        </p:nvSpPr>
        <p:spPr>
          <a:xfrm>
            <a:off x="726440" y="1222846"/>
            <a:ext cx="5526079"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3823338926"/>
      </p:ext>
    </p:extLst>
  </p:cSld>
  <p:clrMapOvr>
    <a:masterClrMapping/>
  </p:clrMapOvr>
  <p:transition>
    <p:fade/>
  </p:transition>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10925175" y="2806064"/>
            <a:ext cx="3354706" cy="4718684"/>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0925176"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6" indent="-112396">
              <a:spcBef>
                <a:spcPts val="0"/>
              </a:spcBef>
              <a:spcAft>
                <a:spcPts val="360"/>
              </a:spcAft>
              <a:tabLst/>
              <a:defRPr lang="en-GB" sz="1200" b="0" i="0" kern="1200" dirty="0">
                <a:solidFill>
                  <a:schemeClr val="tx1"/>
                </a:solidFill>
                <a:latin typeface="+mn-lt"/>
                <a:ea typeface="+mn-ea"/>
                <a:cs typeface="+mn-cs"/>
              </a:defRPr>
            </a:lvl2pPr>
            <a:lvl3pPr marL="215266" indent="-102870">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7399021" y="2806064"/>
            <a:ext cx="3360421" cy="4718684"/>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7399020"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6" indent="-112396">
              <a:spcBef>
                <a:spcPts val="0"/>
              </a:spcBef>
              <a:spcAft>
                <a:spcPts val="360"/>
              </a:spcAft>
              <a:tabLst/>
              <a:defRPr lang="en-GB" sz="1200" b="0" i="0" kern="1200" dirty="0">
                <a:solidFill>
                  <a:schemeClr val="tx1"/>
                </a:solidFill>
                <a:latin typeface="+mn-lt"/>
                <a:ea typeface="+mn-ea"/>
                <a:cs typeface="+mn-cs"/>
              </a:defRPr>
            </a:lvl2pPr>
            <a:lvl3pPr marL="215266" indent="-102870">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345964" y="315361"/>
            <a:ext cx="10407762" cy="545435"/>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345962" y="856344"/>
            <a:ext cx="10405798"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583049220"/>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749790" y="349246"/>
            <a:ext cx="4530091" cy="3506474"/>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GB" dirty="0"/>
              <a:t>Slide footer goes here if required</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2" y="2806065"/>
            <a:ext cx="5700506"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7399021" y="316231"/>
            <a:ext cx="2179319" cy="1082040"/>
          </a:xfrm>
        </p:spPr>
        <p:txBody>
          <a:bodyPr/>
          <a:lstStyle>
            <a:lvl1pPr>
              <a:spcBef>
                <a:spcPts val="0"/>
              </a:spcBef>
              <a:spcAft>
                <a:spcPts val="360"/>
              </a:spcAft>
              <a:defRPr lang="en-GB" sz="1200" b="0" i="0" kern="1200" dirty="0">
                <a:solidFill>
                  <a:schemeClr val="tx1"/>
                </a:solidFill>
                <a:latin typeface="+mn-lt"/>
                <a:ea typeface="+mn-ea"/>
                <a:cs typeface="+mn-cs"/>
              </a:defRPr>
            </a:lvl1pPr>
            <a:lvl2pPr marL="112396" indent="-112396">
              <a:spcBef>
                <a:spcPts val="0"/>
              </a:spcBef>
              <a:spcAft>
                <a:spcPts val="360"/>
              </a:spcAft>
              <a:tabLst/>
              <a:defRPr lang="en-GB" sz="1200" b="0" i="0" kern="1200" dirty="0">
                <a:solidFill>
                  <a:schemeClr val="tx1"/>
                </a:solidFill>
                <a:latin typeface="+mn-lt"/>
                <a:ea typeface="+mn-ea"/>
                <a:cs typeface="+mn-cs"/>
              </a:defRPr>
            </a:lvl2pPr>
            <a:lvl3pPr marL="215266" indent="-102870">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9749790" y="4029077"/>
            <a:ext cx="4530091" cy="3495674"/>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p:nvPr>
        </p:nvSpPr>
        <p:spPr>
          <a:xfrm>
            <a:off x="7404737" y="4001132"/>
            <a:ext cx="2173602" cy="1085850"/>
          </a:xfrm>
        </p:spPr>
        <p:txBody>
          <a:bodyPr/>
          <a:lstStyle>
            <a:lvl1pPr>
              <a:spcBef>
                <a:spcPts val="0"/>
              </a:spcBef>
              <a:spcAft>
                <a:spcPts val="360"/>
              </a:spcAft>
              <a:defRPr lang="en-GB" sz="1200" b="0" i="0" kern="1200" dirty="0">
                <a:solidFill>
                  <a:schemeClr val="tx1"/>
                </a:solidFill>
                <a:latin typeface="+mn-lt"/>
                <a:ea typeface="+mn-ea"/>
                <a:cs typeface="+mn-cs"/>
              </a:defRPr>
            </a:lvl1pPr>
            <a:lvl2pPr marL="112396" indent="-112396">
              <a:spcBef>
                <a:spcPts val="0"/>
              </a:spcBef>
              <a:spcAft>
                <a:spcPts val="360"/>
              </a:spcAft>
              <a:tabLst/>
              <a:defRPr lang="en-GB" sz="1200" b="0" i="0" kern="1200" dirty="0">
                <a:solidFill>
                  <a:schemeClr val="tx1"/>
                </a:solidFill>
                <a:latin typeface="+mn-lt"/>
                <a:ea typeface="+mn-ea"/>
                <a:cs typeface="+mn-cs"/>
              </a:defRPr>
            </a:lvl2pPr>
            <a:lvl3pPr marL="215266" indent="-102870">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345964" y="315361"/>
            <a:ext cx="5700505" cy="545435"/>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345963" y="856344"/>
            <a:ext cx="5700505"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76960232"/>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8580122" y="-1"/>
            <a:ext cx="6050280" cy="402907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4029076"/>
            <a:ext cx="7227062" cy="419994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8580123" y="5252086"/>
            <a:ext cx="5705474" cy="2272664"/>
          </a:xfrm>
        </p:spPr>
        <p:txBody>
          <a:bodyPr/>
          <a:lstStyle>
            <a:lvl4pPr>
              <a:defRPr lang="en-GB" sz="4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345600" y="636311"/>
            <a:ext cx="5705476" cy="2925108"/>
          </a:xfrm>
        </p:spPr>
        <p:txBody>
          <a:bodyPr anchor="ctr">
            <a:spAutoFit/>
          </a:bodyPr>
          <a:lstStyle>
            <a:lvl1pPr>
              <a:lnSpc>
                <a:spcPct val="80000"/>
              </a:lnSpc>
              <a:defRPr sz="7800">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1474452300"/>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GB" dirty="0"/>
              <a:t>Slide footer goes here if required</a:t>
            </a:r>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6050280" cy="402907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7399020" y="4029076"/>
            <a:ext cx="7227062" cy="419994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344806" y="5252086"/>
            <a:ext cx="5705474" cy="2272664"/>
          </a:xfrm>
        </p:spPr>
        <p:txBody>
          <a:bodyPr/>
          <a:lstStyle>
            <a:lvl4pPr>
              <a:defRPr lang="en-GB" sz="4800" dirty="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7399020" y="636311"/>
            <a:ext cx="5705476" cy="2925108"/>
          </a:xfrm>
        </p:spPr>
        <p:txBody>
          <a:bodyPr anchor="ctr">
            <a:spAutoFit/>
          </a:bodyPr>
          <a:lstStyle>
            <a:lvl1pPr>
              <a:lnSpc>
                <a:spcPct val="80000"/>
              </a:lnSpc>
              <a:defRPr sz="7800">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691905093"/>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4029075"/>
            <a:ext cx="4983480" cy="420052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983480" y="1"/>
            <a:ext cx="4694474" cy="8229022"/>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10925176" y="5252086"/>
            <a:ext cx="3354704" cy="2272664"/>
          </a:xfrm>
        </p:spPr>
        <p:txBody>
          <a:bodyPr/>
          <a:lstStyle>
            <a:lvl4pPr>
              <a:defRPr sz="4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9677954" y="0"/>
            <a:ext cx="4937207" cy="4029076"/>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345600" y="836295"/>
            <a:ext cx="4525121" cy="2119042"/>
          </a:xfrm>
        </p:spPr>
        <p:txBody>
          <a:bodyPr/>
          <a:lstStyle>
            <a:lvl1pPr>
              <a:defRPr sz="5400"/>
            </a:lvl1pPr>
          </a:lstStyle>
          <a:p>
            <a:r>
              <a:rPr lang="en-US"/>
              <a:t>Click to edit Master title style</a:t>
            </a:r>
            <a:endParaRPr lang="en-GB"/>
          </a:p>
        </p:txBody>
      </p:sp>
    </p:spTree>
    <p:extLst>
      <p:ext uri="{BB962C8B-B14F-4D97-AF65-F5344CB8AC3E}">
        <p14:creationId xmlns:p14="http://schemas.microsoft.com/office/powerpoint/2010/main" val="1912247398"/>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GB" dirty="0"/>
              <a:t>Slide footer goes here if required</a:t>
            </a:r>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6050280" cy="4029076"/>
          </a:xfrm>
          <a:solidFill>
            <a:srgbClr val="F6F3F2"/>
          </a:solidFill>
        </p:spPr>
        <p:txBody>
          <a:bodyPr vert="horz" lIns="0" tIns="0" rIns="0" bIns="0" rtlCol="0">
            <a:noAutofit/>
          </a:bodyPr>
          <a:lstStyle>
            <a:lvl1pPr marL="0" marR="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7399020" y="4029076"/>
            <a:ext cx="7227062" cy="4199946"/>
          </a:xfrm>
          <a:solidFill>
            <a:srgbClr val="F6F3F2"/>
          </a:solidFill>
        </p:spPr>
        <p:txBody>
          <a:bodyPr vert="horz" lIns="0" tIns="0" rIns="0" bIns="0" rtlCol="0">
            <a:noAutofit/>
          </a:bodyPr>
          <a:lstStyle>
            <a:lvl1pPr marL="0" marR="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7399020" y="1567815"/>
            <a:ext cx="6884117" cy="1093223"/>
          </a:xfrm>
        </p:spPr>
        <p:txBody>
          <a:bodyPr wrap="square" anchor="ctr">
            <a:spAutoFit/>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520190" y="5252434"/>
            <a:ext cx="5705474" cy="1093223"/>
          </a:xfrm>
        </p:spPr>
        <p:txBody>
          <a:bodyPr wrap="square" anchor="ctr">
            <a:spAutoFit/>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933283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15201" y="0"/>
            <a:ext cx="7315199" cy="8229600"/>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46711" y="6473190"/>
            <a:ext cx="3354704" cy="1051560"/>
          </a:xfrm>
        </p:spPr>
        <p:txBody>
          <a:bodyPr anchor="t"/>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p:nvPr>
        </p:nvSpPr>
        <p:spPr>
          <a:xfrm>
            <a:off x="346710" y="2806066"/>
            <a:ext cx="4533900"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345964" y="315360"/>
            <a:ext cx="6879702" cy="562308"/>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345963" y="856344"/>
            <a:ext cx="6879702" cy="337336"/>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3" name="Graphic 8">
            <a:extLst>
              <a:ext uri="{FF2B5EF4-FFF2-40B4-BE49-F238E27FC236}">
                <a16:creationId xmlns:a16="http://schemas.microsoft.com/office/drawing/2014/main" id="{0256C6C6-C2B0-619B-06B6-F0B7706CD3DA}"/>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212849330"/>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9749791" y="342189"/>
            <a:ext cx="4530090" cy="4736542"/>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9749791" y="5252086"/>
            <a:ext cx="4530090"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p:nvPr>
        </p:nvSpPr>
        <p:spPr>
          <a:xfrm>
            <a:off x="346710" y="5252086"/>
            <a:ext cx="4533900"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5049279" y="342189"/>
            <a:ext cx="4530090" cy="4736542"/>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5049279" y="5252086"/>
            <a:ext cx="4530090"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345964" y="315361"/>
            <a:ext cx="4530088" cy="545435"/>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345963" y="856345"/>
            <a:ext cx="4530090" cy="337336"/>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9" name="Graphic 8">
            <a:extLst>
              <a:ext uri="{FF2B5EF4-FFF2-40B4-BE49-F238E27FC236}">
                <a16:creationId xmlns:a16="http://schemas.microsoft.com/office/drawing/2014/main" id="{B58D846E-E0EB-4B4E-2451-D64CE997DC63}"/>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431811741"/>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tx2"/>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93307" y="1571141"/>
            <a:ext cx="3354706" cy="350759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7393306" y="5252086"/>
            <a:ext cx="3357486"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870961" y="1571141"/>
            <a:ext cx="3354706" cy="350759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870961" y="5252086"/>
            <a:ext cx="3353677"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10943261" y="1571141"/>
            <a:ext cx="3354706" cy="3507590"/>
          </a:xfrm>
          <a:solidFill>
            <a:srgbClr val="F6F3F2"/>
          </a:solidFill>
        </p:spPr>
        <p:txBody>
          <a:bodyPr vert="horz" lIns="0" tIns="0" rIns="0" bIns="0" rtlCol="0">
            <a:noAutofit/>
          </a:bodyPr>
          <a:lstStyle>
            <a:lvl1pPr>
              <a:defRPr lang="en-GB"/>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10943260" y="5252086"/>
            <a:ext cx="3357486"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p:nvPr>
        </p:nvSpPr>
        <p:spPr>
          <a:xfrm>
            <a:off x="346711" y="5252086"/>
            <a:ext cx="3331782"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345964" y="315360"/>
            <a:ext cx="11579335" cy="562308"/>
          </a:xfrm>
        </p:spPr>
        <p:txBody>
          <a:bodyPr/>
          <a:lstStyle>
            <a:lvl1pPr>
              <a:defRPr>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345962" y="856344"/>
            <a:ext cx="11579334" cy="337336"/>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11" name="Footer Placeholder 10">
            <a:extLst>
              <a:ext uri="{FF2B5EF4-FFF2-40B4-BE49-F238E27FC236}">
                <a16:creationId xmlns:a16="http://schemas.microsoft.com/office/drawing/2014/main" id="{B0F98AA2-E2DC-E0E0-4C8F-760BB9A932E3}"/>
              </a:ext>
            </a:extLst>
          </p:cNvPr>
          <p:cNvSpPr>
            <a:spLocks noGrp="1"/>
          </p:cNvSpPr>
          <p:nvPr>
            <p:ph type="ftr" sz="quarter" idx="29"/>
          </p:nvPr>
        </p:nvSpPr>
        <p:spPr/>
        <p:txBody>
          <a:bodyPr/>
          <a:lstStyle>
            <a:lvl1pPr>
              <a:defRPr>
                <a:solidFill>
                  <a:schemeClr val="bg1"/>
                </a:solidFill>
              </a:defRPr>
            </a:lvl1pPr>
          </a:lstStyle>
          <a:p>
            <a:r>
              <a:rPr lang="en-GB" dirty="0"/>
              <a:t>Slide footer goes here if required</a:t>
            </a:r>
          </a:p>
        </p:txBody>
      </p:sp>
      <p:sp>
        <p:nvSpPr>
          <p:cNvPr id="13" name="Slide Number Placeholder 12">
            <a:extLst>
              <a:ext uri="{FF2B5EF4-FFF2-40B4-BE49-F238E27FC236}">
                <a16:creationId xmlns:a16="http://schemas.microsoft.com/office/drawing/2014/main" id="{482FD8FC-F7B2-9C6C-B17A-E86A85F913ED}"/>
              </a:ext>
            </a:extLst>
          </p:cNvPr>
          <p:cNvSpPr>
            <a:spLocks noGrp="1"/>
          </p:cNvSpPr>
          <p:nvPr>
            <p:ph type="sldNum" sz="quarter" idx="30"/>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14" name="Graphic 8">
            <a:extLst>
              <a:ext uri="{FF2B5EF4-FFF2-40B4-BE49-F238E27FC236}">
                <a16:creationId xmlns:a16="http://schemas.microsoft.com/office/drawing/2014/main" id="{39092A83-DA5A-9054-8843-290AA80FA357}"/>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451999500"/>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93307" y="1571141"/>
            <a:ext cx="3354706" cy="3507590"/>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7393306" y="5252086"/>
            <a:ext cx="335748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870961" y="1571141"/>
            <a:ext cx="3354706" cy="3507590"/>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870961" y="5252086"/>
            <a:ext cx="3353677"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10943261" y="1571141"/>
            <a:ext cx="3354706" cy="3507590"/>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10943260" y="5252086"/>
            <a:ext cx="335748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349775" y="1571141"/>
            <a:ext cx="3354706" cy="3507590"/>
          </a:xfrm>
          <a:solidFill>
            <a:srgbClr val="F6F3F2"/>
          </a:solidFill>
        </p:spPr>
        <p:txBody>
          <a:bodyPr vert="horz" lIns="0" tIns="0" rIns="0" bIns="0" rtlCol="0">
            <a:noAutofit/>
          </a:bodyPr>
          <a:lstStyle>
            <a:lvl1pPr>
              <a:defRPr lang="en-GB"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349774" y="5252086"/>
            <a:ext cx="3353677"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p:nvPr>
        </p:nvSpPr>
        <p:spPr>
          <a:xfrm>
            <a:off x="9750240"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345964" y="315360"/>
            <a:ext cx="6879702" cy="562308"/>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345963" y="856344"/>
            <a:ext cx="6878675"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27468024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7" name="Content Placeholder 11"/>
          <p:cNvSpPr>
            <a:spLocks noGrp="1"/>
          </p:cNvSpPr>
          <p:nvPr>
            <p:ph sz="quarter" idx="26"/>
          </p:nvPr>
        </p:nvSpPr>
        <p:spPr>
          <a:xfrm>
            <a:off x="5206702" y="2021631"/>
            <a:ext cx="8697258" cy="5037476"/>
          </a:xfrm>
        </p:spPr>
        <p:txBody>
          <a:bodyPr/>
          <a:lstStyle>
            <a:lvl1pPr marL="0" indent="0">
              <a:buNone/>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p:cNvSpPr>
            <a:spLocks noGrp="1"/>
          </p:cNvSpPr>
          <p:nvPr>
            <p:ph type="body" sz="quarter" idx="27" hasCustomPrompt="1"/>
          </p:nvPr>
        </p:nvSpPr>
        <p:spPr>
          <a:xfrm>
            <a:off x="737871" y="2055499"/>
            <a:ext cx="4199889" cy="5003608"/>
          </a:xfrm>
        </p:spPr>
        <p:txBody>
          <a:bodyPr/>
          <a:lstStyle>
            <a:lvl1pPr>
              <a:defRPr sz="2500">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p:txBody>
      </p:sp>
      <p:sp>
        <p:nvSpPr>
          <p:cNvPr id="19"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350520" y="2806066"/>
            <a:ext cx="2173606" cy="2272664"/>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35052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701290" y="2806066"/>
            <a:ext cx="2173606" cy="2272664"/>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70129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5048250" y="2806066"/>
            <a:ext cx="2173606" cy="2272664"/>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504825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7399020" y="2806066"/>
            <a:ext cx="2173606" cy="2272664"/>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739902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9755504" y="2806066"/>
            <a:ext cx="2173606" cy="2272664"/>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9755504"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2106274" y="2806066"/>
            <a:ext cx="2173606" cy="2272664"/>
          </a:xfrm>
          <a:solidFill>
            <a:srgbClr val="F6F3F2"/>
          </a:solidFill>
        </p:spPr>
        <p:txBody>
          <a:bodyPr vert="horz" lIns="0" tIns="0" rIns="0" bIns="0" rtlCol="0">
            <a:noAutofit/>
          </a:bodyPr>
          <a:lstStyle>
            <a:lvl1pPr>
              <a:defRPr lang="en-GB" sz="1440"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2106274"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345964" y="315360"/>
            <a:ext cx="8053181" cy="549381"/>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682072253"/>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GB" dirty="0"/>
              <a:t>Slide footer goes here if required</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350520" y="1591189"/>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350520"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701290" y="1591189"/>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701290"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5048250" y="1591189"/>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5048250"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7399020" y="1591189"/>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7399020"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9755504" y="1591189"/>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9755504"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2106274" y="1591189"/>
            <a:ext cx="2172960" cy="2090830"/>
          </a:xfrm>
          <a:solidFill>
            <a:srgbClr val="F6F3F2"/>
          </a:solidFill>
        </p:spPr>
        <p:txBody>
          <a:bodyPr vert="horz" lIns="0" tIns="0" rIns="0" bIns="0" rtlCol="0">
            <a:noAutofit/>
          </a:bodyPr>
          <a:lstStyle>
            <a:lvl1pPr>
              <a:defRPr lang="en-GB" sz="1440"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2106274" y="3759752"/>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9749046" y="354241"/>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350520" y="4599583"/>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350520"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701290" y="4599583"/>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701290"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5048250" y="4599583"/>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5048250"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7399020" y="4599583"/>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7399020"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9755504" y="4599583"/>
            <a:ext cx="2172960" cy="2090830"/>
          </a:xfrm>
          <a:solidFill>
            <a:srgbClr val="F6F3F2"/>
          </a:solidFill>
        </p:spPr>
        <p:txBody>
          <a:bodyPr vert="horz" lIns="0" tIns="0" rIns="0" bIns="0" rtlCol="0">
            <a:noAutofit/>
          </a:bodyPr>
          <a:lstStyle>
            <a:lvl1pPr>
              <a:defRPr lang="en-GB" sz="144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9755504"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2106274" y="4599583"/>
            <a:ext cx="2172960" cy="2090830"/>
          </a:xfrm>
          <a:solidFill>
            <a:srgbClr val="F6F3F2"/>
          </a:solidFill>
        </p:spPr>
        <p:txBody>
          <a:bodyPr vert="horz" lIns="0" tIns="0" rIns="0" bIns="0" rtlCol="0">
            <a:noAutofit/>
          </a:bodyPr>
          <a:lstStyle>
            <a:lvl1pPr>
              <a:defRPr lang="en-GB" sz="1440" dirty="0"/>
            </a:lvl1pPr>
          </a:lstStyle>
          <a:p>
            <a:pPr marL="0" marR="0" lvl="0" indent="0" algn="l" defTabSz="1097280"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2106274" y="6768146"/>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810" indent="-384810">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345964" y="315360"/>
            <a:ext cx="8053181" cy="549381"/>
          </a:xfrm>
        </p:spPr>
        <p:txBody>
          <a:bodyPr/>
          <a:lstStyle>
            <a:lvl1pPr>
              <a:defRPr>
                <a:solidFill>
                  <a:schemeClr val="tx2"/>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345962" y="856344"/>
            <a:ext cx="8056246" cy="337336"/>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069743962"/>
      </p:ext>
    </p:extLst>
  </p:cSld>
  <p:clrMapOvr>
    <a:masterClrMapping/>
  </p:clrMapOvr>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tx2"/>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56264"/>
            <a:ext cx="3354704" cy="860616"/>
          </a:xfrm>
        </p:spPr>
        <p:txBody>
          <a:bodyPr anchor="b"/>
          <a:lstStyle>
            <a:lvl1pPr>
              <a:lnSpc>
                <a:spcPct val="100000"/>
              </a:lnSpc>
              <a:spcBef>
                <a:spcPts val="0"/>
              </a:spcBef>
              <a:spcAft>
                <a:spcPts val="0"/>
              </a:spcAft>
              <a:defRPr sz="1200">
                <a:solidFill>
                  <a:schemeClr val="bg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9912" y="336961"/>
            <a:ext cx="6880860" cy="3144476"/>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a:p>
        </p:txBody>
      </p:sp>
      <p:sp>
        <p:nvSpPr>
          <p:cNvPr id="4" name="Freeform 3">
            <a:extLst>
              <a:ext uri="{FF2B5EF4-FFF2-40B4-BE49-F238E27FC236}">
                <a16:creationId xmlns:a16="http://schemas.microsoft.com/office/drawing/2014/main" id="{341CCCF6-45D3-89EA-1171-FDB379444A5D}"/>
              </a:ext>
            </a:extLst>
          </p:cNvPr>
          <p:cNvSpPr/>
          <p:nvPr/>
        </p:nvSpPr>
        <p:spPr>
          <a:xfrm>
            <a:off x="349912" y="7647759"/>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ctr"/>
          <a:lstStyle/>
          <a:p>
            <a:endParaRPr lang="en-GB" sz="3600" b="0" i="0" dirty="0">
              <a:solidFill>
                <a:schemeClr val="bg1"/>
              </a:solidFill>
              <a:latin typeface="Johnson Text" pitchFamily="2" charset="77"/>
            </a:endParaRPr>
          </a:p>
        </p:txBody>
      </p:sp>
    </p:spTree>
    <p:extLst>
      <p:ext uri="{BB962C8B-B14F-4D97-AF65-F5344CB8AC3E}">
        <p14:creationId xmlns:p14="http://schemas.microsoft.com/office/powerpoint/2010/main" val="2681424899"/>
      </p:ext>
    </p:extLst>
  </p:cSld>
  <p:clrMapOvr>
    <a:masterClrMapping/>
  </p:clrMapOvr>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rgbClr val="F6F3F2"/>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56264"/>
            <a:ext cx="3354704" cy="860616"/>
          </a:xfrm>
        </p:spPr>
        <p:txBody>
          <a:bodyPr anchor="b"/>
          <a:lstStyle>
            <a:lvl1pPr>
              <a:lnSpc>
                <a:spcPct val="100000"/>
              </a:lnSpc>
              <a:spcBef>
                <a:spcPts val="0"/>
              </a:spcBef>
              <a:spcAft>
                <a:spcPts val="0"/>
              </a:spcAft>
              <a:defRPr sz="12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9912" y="336961"/>
            <a:ext cx="6880860" cy="3144476"/>
          </a:xfrm>
        </p:spPr>
        <p:txBody>
          <a:bodyPr wrap="square" anchor="t">
            <a:spAutoFit/>
          </a:bodyPr>
          <a:lstStyle>
            <a:lvl1pPr algn="l">
              <a:lnSpc>
                <a:spcPct val="80000"/>
              </a:lnSpc>
              <a:defRPr sz="8400" b="0" i="0" spc="0" baseline="0">
                <a:solidFill>
                  <a:schemeClr val="tx2"/>
                </a:solidFill>
                <a:latin typeface="+mj-lt"/>
              </a:defRPr>
            </a:lvl1pPr>
          </a:lstStyle>
          <a:p>
            <a:r>
              <a:rPr lang="en-US"/>
              <a:t>Click to edit Master title style</a:t>
            </a:r>
            <a:endParaRPr lang="en-GB"/>
          </a:p>
        </p:txBody>
      </p:sp>
      <p:sp>
        <p:nvSpPr>
          <p:cNvPr id="4" name="Freeform 3">
            <a:extLst>
              <a:ext uri="{FF2B5EF4-FFF2-40B4-BE49-F238E27FC236}">
                <a16:creationId xmlns:a16="http://schemas.microsoft.com/office/drawing/2014/main" id="{341CCCF6-45D3-89EA-1171-FDB379444A5D}"/>
              </a:ext>
            </a:extLst>
          </p:cNvPr>
          <p:cNvSpPr/>
          <p:nvPr/>
        </p:nvSpPr>
        <p:spPr>
          <a:xfrm>
            <a:off x="349912" y="7647759"/>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tx2"/>
          </a:solidFill>
          <a:ln w="13780" cap="flat">
            <a:noFill/>
            <a:prstDash val="solid"/>
            <a:miter/>
          </a:ln>
        </p:spPr>
        <p:txBody>
          <a:bodyPr rtlCol="0" anchor="ctr"/>
          <a:lstStyle/>
          <a:p>
            <a:endParaRPr lang="en-GB" sz="3600" b="0" i="0" dirty="0">
              <a:solidFill>
                <a:schemeClr val="tx1"/>
              </a:solidFill>
              <a:latin typeface="Johnson Text" pitchFamily="2" charset="77"/>
            </a:endParaRPr>
          </a:p>
        </p:txBody>
      </p:sp>
    </p:spTree>
    <p:extLst>
      <p:ext uri="{BB962C8B-B14F-4D97-AF65-F5344CB8AC3E}">
        <p14:creationId xmlns:p14="http://schemas.microsoft.com/office/powerpoint/2010/main" val="3068383652"/>
      </p:ext>
    </p:extLst>
  </p:cSld>
  <p:clrMapOvr>
    <a:masterClrMapping/>
  </p:clrMapOvr>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0"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1" y="7032578"/>
            <a:ext cx="3794119" cy="694460"/>
          </a:xfrm>
          <a:prstGeom prst="rect">
            <a:avLst/>
          </a:prstGeom>
        </p:spPr>
      </p:pic>
    </p:spTree>
    <p:extLst>
      <p:ext uri="{BB962C8B-B14F-4D97-AF65-F5344CB8AC3E}">
        <p14:creationId xmlns:p14="http://schemas.microsoft.com/office/powerpoint/2010/main" val="3720089659"/>
      </p:ext>
    </p:extLst>
  </p:cSld>
  <p:clrMapOvr>
    <a:masterClrMapping/>
  </p:clrMapOvr>
  <p:transition>
    <p:fade/>
  </p:transition>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3"/>
            <a:ext cx="13182936" cy="5003293"/>
          </a:xfrm>
        </p:spPr>
        <p:txBody>
          <a:bodyPr/>
          <a:lstStyle>
            <a:lvl1pPr marL="0" marR="0" indent="0" algn="ctr" defTabSz="1097280" rtl="0" eaLnBrk="1" fontAlgn="base" latinLnBrk="0" hangingPunct="1">
              <a:lnSpc>
                <a:spcPct val="100000"/>
              </a:lnSpc>
              <a:spcBef>
                <a:spcPct val="0"/>
              </a:spcBef>
              <a:spcAft>
                <a:spcPct val="0"/>
              </a:spcAft>
              <a:buClrTx/>
              <a:buSzTx/>
              <a:buFontTx/>
              <a:buNone/>
              <a:tabLst/>
              <a:defRPr sz="2400"/>
            </a:lvl1pPr>
          </a:lstStyle>
          <a:p>
            <a:pPr marL="0" marR="0" lvl="0"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8C943351-4D1C-B84E-AFF6-E461D04C3E37}"/>
              </a:ext>
            </a:extLst>
          </p:cNvPr>
          <p:cNvPicPr>
            <a:picLocks noChangeAspect="1"/>
          </p:cNvPicPr>
          <p:nvPr userDrawn="1"/>
        </p:nvPicPr>
        <p:blipFill>
          <a:blip r:embed="rId2"/>
          <a:stretch>
            <a:fillRect/>
          </a:stretch>
        </p:blipFill>
        <p:spPr>
          <a:xfrm>
            <a:off x="12070992" y="7653649"/>
            <a:ext cx="1729048" cy="339159"/>
          </a:xfrm>
          <a:prstGeom prst="rect">
            <a:avLst/>
          </a:prstGeom>
        </p:spPr>
      </p:pic>
    </p:spTree>
    <p:extLst>
      <p:ext uri="{BB962C8B-B14F-4D97-AF65-F5344CB8AC3E}">
        <p14:creationId xmlns:p14="http://schemas.microsoft.com/office/powerpoint/2010/main" val="3302121811"/>
      </p:ext>
    </p:extLst>
  </p:cSld>
  <p:clrMapOvr>
    <a:masterClrMapping/>
  </p:clrMapOvr>
  <p:transition>
    <p:fade/>
  </p:transition>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3"/>
            <a:ext cx="13182936" cy="5003293"/>
          </a:xfrm>
        </p:spPr>
        <p:txBody>
          <a:bodyPr/>
          <a:lstStyle>
            <a:lvl1pPr marL="0" marR="0" indent="0" algn="ctr" defTabSz="1097280" rtl="0" eaLnBrk="1" fontAlgn="base" latinLnBrk="0" hangingPunct="1">
              <a:lnSpc>
                <a:spcPct val="100000"/>
              </a:lnSpc>
              <a:spcBef>
                <a:spcPct val="0"/>
              </a:spcBef>
              <a:spcAft>
                <a:spcPct val="0"/>
              </a:spcAft>
              <a:buClrTx/>
              <a:buSzTx/>
              <a:buFontTx/>
              <a:buNone/>
              <a:tabLst/>
              <a:defRPr sz="2400"/>
            </a:lvl1pPr>
          </a:lstStyle>
          <a:p>
            <a:pPr marL="0" marR="0" lvl="0"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8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2573A9F3-94BF-6B41-8903-C602E3EBAE62}"/>
              </a:ext>
            </a:extLst>
          </p:cNvPr>
          <p:cNvPicPr>
            <a:picLocks noChangeAspect="1"/>
          </p:cNvPicPr>
          <p:nvPr userDrawn="1"/>
        </p:nvPicPr>
        <p:blipFill>
          <a:blip r:embed="rId2"/>
          <a:stretch>
            <a:fillRect/>
          </a:stretch>
        </p:blipFill>
        <p:spPr>
          <a:xfrm>
            <a:off x="12070992" y="7653649"/>
            <a:ext cx="1729048" cy="339159"/>
          </a:xfrm>
          <a:prstGeom prst="rect">
            <a:avLst/>
          </a:prstGeom>
        </p:spPr>
      </p:pic>
    </p:spTree>
    <p:extLst>
      <p:ext uri="{BB962C8B-B14F-4D97-AF65-F5344CB8AC3E}">
        <p14:creationId xmlns:p14="http://schemas.microsoft.com/office/powerpoint/2010/main" val="1996832920"/>
      </p:ext>
    </p:extLst>
  </p:cSld>
  <p:clrMapOvr>
    <a:masterClrMapping/>
  </p:clrMapOvr>
  <p:transition>
    <p:fade/>
  </p:transition>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295729497"/>
      </p:ext>
    </p:extLst>
  </p:cSld>
  <p:clrMapOvr>
    <a:masterClrMapping/>
  </p:clrMapOvr>
  <p:transition>
    <p:fade/>
  </p:transition>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64955995"/>
      </p:ext>
    </p:extLst>
  </p:cSld>
  <p:clrMapOvr>
    <a:masterClrMapping/>
  </p:clrMapOvr>
  <p:transition>
    <p:fade/>
  </p:transition>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986717530"/>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9" name="Title 1"/>
          <p:cNvSpPr>
            <a:spLocks noGrp="1"/>
          </p:cNvSpPr>
          <p:nvPr>
            <p:ph type="title"/>
          </p:nvPr>
        </p:nvSpPr>
        <p:spPr>
          <a:xfrm>
            <a:off x="726440" y="454149"/>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Slide Number Placeholder 5">
            <a:extLst>
              <a:ext uri="{FF2B5EF4-FFF2-40B4-BE49-F238E27FC236}">
                <a16:creationId xmlns:a16="http://schemas.microsoft.com/office/drawing/2014/main" id="{A1F18C78-6B4E-4741-AC78-006AA2AF011E}"/>
              </a:ext>
            </a:extLst>
          </p:cNvPr>
          <p:cNvSpPr txBox="1">
            <a:spLocks/>
          </p:cNvSpPr>
          <p:nvPr userDrawn="1"/>
        </p:nvSpPr>
        <p:spPr>
          <a:xfrm>
            <a:off x="29753136"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C8102E"/>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mtClean="0"/>
              <a:pPr/>
              <a:t>‹#›</a:t>
            </a:fld>
            <a:endParaRPr lang="en-US" dirty="0"/>
          </a:p>
        </p:txBody>
      </p:sp>
      <p:sp>
        <p:nvSpPr>
          <p:cNvPr id="23" name="Picture Placeholder 2">
            <a:extLst>
              <a:ext uri="{FF2B5EF4-FFF2-40B4-BE49-F238E27FC236}">
                <a16:creationId xmlns:a16="http://schemas.microsoft.com/office/drawing/2014/main" id="{02648577-FAC1-4B4E-BFCD-47D88E7BA13C}"/>
              </a:ext>
            </a:extLst>
          </p:cNvPr>
          <p:cNvSpPr>
            <a:spLocks noGrp="1"/>
          </p:cNvSpPr>
          <p:nvPr>
            <p:ph type="pic" sz="quarter" idx="33"/>
          </p:nvPr>
        </p:nvSpPr>
        <p:spPr>
          <a:xfrm>
            <a:off x="729615" y="2021632"/>
            <a:ext cx="4216400" cy="5037476"/>
          </a:xfrm>
        </p:spPr>
        <p:txBody>
          <a:bodyPr/>
          <a:lstStyle/>
          <a:p>
            <a:endParaRPr lang="en-US" dirty="0"/>
          </a:p>
        </p:txBody>
      </p:sp>
      <p:sp>
        <p:nvSpPr>
          <p:cNvPr id="24" name="Text Placeholder 4">
            <a:extLst>
              <a:ext uri="{FF2B5EF4-FFF2-40B4-BE49-F238E27FC236}">
                <a16:creationId xmlns:a16="http://schemas.microsoft.com/office/drawing/2014/main" id="{88000DC0-46E4-F848-8F95-4855A6A28DFB}"/>
              </a:ext>
            </a:extLst>
          </p:cNvPr>
          <p:cNvSpPr>
            <a:spLocks noGrp="1"/>
          </p:cNvSpPr>
          <p:nvPr>
            <p:ph type="body" sz="quarter" idx="34"/>
          </p:nvPr>
        </p:nvSpPr>
        <p:spPr>
          <a:xfrm>
            <a:off x="5207000" y="2020888"/>
            <a:ext cx="8705850" cy="5037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4075215"/>
      </p:ext>
    </p:extLst>
  </p:cSld>
  <p:clrMapOvr>
    <a:masterClrMapping/>
  </p:clrMapOvr>
  <p:transition>
    <p:fade/>
  </p:transition>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341768" y="315204"/>
            <a:ext cx="11587343" cy="3141168"/>
          </a:xfrm>
        </p:spPr>
        <p:txBody>
          <a:bodyPr anchor="t"/>
          <a:lstStyle>
            <a:lvl1pPr algn="l">
              <a:lnSpc>
                <a:spcPct val="80000"/>
              </a:lnSpc>
              <a:defRPr sz="12600" b="0" i="0" spc="0" baseline="0">
                <a:solidFill>
                  <a:schemeClr val="bg1"/>
                </a:solidFill>
                <a:latin typeface="+mj-lt"/>
              </a:defRPr>
            </a:lvl1pPr>
          </a:lstStyle>
          <a:p>
            <a:r>
              <a:rPr lang="en-US"/>
              <a:t>Click to edit Master title style</a:t>
            </a:r>
            <a:endParaRPr lang="en-GB" dirty="0"/>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2" y="7071504"/>
            <a:ext cx="3354704" cy="860616"/>
          </a:xfrm>
        </p:spPr>
        <p:txBody>
          <a:bodyPr anchor="b"/>
          <a:lstStyle>
            <a:lvl1pPr marL="0" indent="0" algn="l">
              <a:lnSpc>
                <a:spcPct val="100000"/>
              </a:lnSpc>
              <a:spcBef>
                <a:spcPts val="0"/>
              </a:spcBef>
              <a:spcAft>
                <a:spcPts val="0"/>
              </a:spcAft>
              <a:buNone/>
              <a:defRPr sz="16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bg1"/>
                </a:solidFill>
              </a:defRPr>
            </a:lvl1pPr>
          </a:lstStyle>
          <a:p>
            <a:r>
              <a:rPr lang="en-GB" dirty="0"/>
              <a:t>Supporting details – delete if not required</a:t>
            </a:r>
          </a:p>
        </p:txBody>
      </p:sp>
      <p:sp>
        <p:nvSpPr>
          <p:cNvPr id="2" name="Graphic 2">
            <a:extLst>
              <a:ext uri="{FF2B5EF4-FFF2-40B4-BE49-F238E27FC236}">
                <a16:creationId xmlns:a16="http://schemas.microsoft.com/office/drawing/2014/main" id="{2E36CEA2-652F-75DC-D683-227EE3CCAC18}"/>
              </a:ext>
            </a:extLst>
          </p:cNvPr>
          <p:cNvSpPr>
            <a:spLocks noChangeAspect="1"/>
          </p:cNvSpPr>
          <p:nvPr/>
        </p:nvSpPr>
        <p:spPr>
          <a:xfrm>
            <a:off x="348616" y="7653425"/>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40562802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341768" y="313298"/>
            <a:ext cx="11587343" cy="3141168"/>
          </a:xfrm>
        </p:spPr>
        <p:txBody>
          <a:bodyPr anchor="t"/>
          <a:lstStyle>
            <a:lvl1pPr algn="l">
              <a:lnSpc>
                <a:spcPct val="80000"/>
              </a:lnSpc>
              <a:defRPr sz="12600" b="0" i="0" spc="0" baseline="0">
                <a:solidFill>
                  <a:schemeClr val="tx2"/>
                </a:solidFill>
                <a:latin typeface="+mj-lt"/>
              </a:defRPr>
            </a:lvl1pPr>
          </a:lstStyle>
          <a:p>
            <a:r>
              <a:rPr lang="en-US"/>
              <a:t>Click to edit Master title style</a:t>
            </a:r>
            <a:endParaRPr lang="en-GB" dirty="0"/>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2" y="7071504"/>
            <a:ext cx="3354704" cy="860616"/>
          </a:xfrm>
        </p:spPr>
        <p:txBody>
          <a:bodyPr anchor="b"/>
          <a:lstStyle>
            <a:lvl1pPr marL="0" indent="0" algn="l">
              <a:lnSpc>
                <a:spcPct val="100000"/>
              </a:lnSpc>
              <a:spcBef>
                <a:spcPts val="0"/>
              </a:spcBef>
              <a:spcAft>
                <a:spcPts val="0"/>
              </a:spcAft>
              <a:buNone/>
              <a:defRPr sz="1680">
                <a:solidFill>
                  <a:schemeClr val="tx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tx1"/>
                </a:solidFill>
              </a:defRPr>
            </a:lvl1pPr>
          </a:lstStyle>
          <a:p>
            <a:r>
              <a:rPr lang="en-GB" dirty="0"/>
              <a:t>Supporting details – delete if not required</a:t>
            </a:r>
          </a:p>
        </p:txBody>
      </p:sp>
      <p:sp>
        <p:nvSpPr>
          <p:cNvPr id="4" name="Graphic 2">
            <a:extLst>
              <a:ext uri="{FF2B5EF4-FFF2-40B4-BE49-F238E27FC236}">
                <a16:creationId xmlns:a16="http://schemas.microsoft.com/office/drawing/2014/main" id="{81BA223A-6973-8C60-D519-0AA8E983C929}"/>
              </a:ext>
            </a:extLst>
          </p:cNvPr>
          <p:cNvSpPr>
            <a:spLocks noChangeAspect="1"/>
          </p:cNvSpPr>
          <p:nvPr/>
        </p:nvSpPr>
        <p:spPr>
          <a:xfrm>
            <a:off x="348616" y="7653425"/>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tx2"/>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72117822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1E89327-3BBA-1507-2BFB-0E509816FBA8}"/>
              </a:ext>
            </a:extLst>
          </p:cNvPr>
          <p:cNvSpPr/>
          <p:nvPr/>
        </p:nvSpPr>
        <p:spPr>
          <a:xfrm>
            <a:off x="349912" y="337780"/>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t"/>
          <a:lstStyle/>
          <a:p>
            <a:endParaRPr lang="en-GB" sz="3600" b="0" i="0" dirty="0">
              <a:solidFill>
                <a:schemeClr val="bg1"/>
              </a:solidFill>
              <a:latin typeface="Johnson Text" pitchFamily="2" charset="77"/>
            </a:endParaRP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7399020" y="320346"/>
            <a:ext cx="6880860" cy="3102388"/>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dirty="0"/>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7399022" y="7071504"/>
            <a:ext cx="3354704" cy="860616"/>
          </a:xfrm>
        </p:spPr>
        <p:txBody>
          <a:bodyPr anchor="b"/>
          <a:lstStyle>
            <a:lvl1pPr marL="0" indent="0" algn="l">
              <a:lnSpc>
                <a:spcPct val="100000"/>
              </a:lnSpc>
              <a:spcBef>
                <a:spcPts val="0"/>
              </a:spcBef>
              <a:spcAft>
                <a:spcPts val="0"/>
              </a:spcAft>
              <a:buNone/>
              <a:defRPr sz="16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71504"/>
            <a:ext cx="3354704" cy="860616"/>
          </a:xfrm>
        </p:spPr>
        <p:txBody>
          <a:bodyPr anchor="b"/>
          <a:lstStyle>
            <a:lvl1pPr>
              <a:lnSpc>
                <a:spcPct val="100000"/>
              </a:lnSpc>
              <a:spcBef>
                <a:spcPts val="0"/>
              </a:spcBef>
              <a:spcAft>
                <a:spcPts val="0"/>
              </a:spcAft>
              <a:defRPr sz="1680">
                <a:solidFill>
                  <a:schemeClr val="bg1"/>
                </a:solidFill>
              </a:defRPr>
            </a:lvl1pPr>
          </a:lstStyle>
          <a:p>
            <a:r>
              <a:rPr lang="en-GB" dirty="0"/>
              <a:t>Supporting details – delete if not required</a:t>
            </a:r>
          </a:p>
        </p:txBody>
      </p:sp>
    </p:spTree>
    <p:extLst>
      <p:ext uri="{BB962C8B-B14F-4D97-AF65-F5344CB8AC3E}">
        <p14:creationId xmlns:p14="http://schemas.microsoft.com/office/powerpoint/2010/main" val="295072388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Title Slide 2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3176" y="320346"/>
            <a:ext cx="6880860" cy="3102388"/>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dirty="0"/>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3869332" y="5267326"/>
            <a:ext cx="3354704" cy="2664794"/>
          </a:xfrm>
        </p:spPr>
        <p:txBody>
          <a:bodyPr anchor="b"/>
          <a:lstStyle>
            <a:lvl1pPr>
              <a:lnSpc>
                <a:spcPct val="100000"/>
              </a:lnSpc>
              <a:spcBef>
                <a:spcPts val="0"/>
              </a:spcBef>
              <a:spcAft>
                <a:spcPts val="0"/>
              </a:spcAft>
              <a:defRPr sz="1680">
                <a:solidFill>
                  <a:schemeClr val="bg1"/>
                </a:solidFill>
              </a:defRPr>
            </a:lvl1pPr>
          </a:lstStyle>
          <a:p>
            <a:r>
              <a:rPr lang="en-GB" dirty="0"/>
              <a:t>Supporting details – delete if not required</a:t>
            </a:r>
          </a:p>
        </p:txBody>
      </p:sp>
      <p:sp>
        <p:nvSpPr>
          <p:cNvPr id="4" name="Picture Placeholder 3">
            <a:extLst>
              <a:ext uri="{FF2B5EF4-FFF2-40B4-BE49-F238E27FC236}">
                <a16:creationId xmlns:a16="http://schemas.microsoft.com/office/drawing/2014/main" id="{9E083875-577D-C85F-0FB1-123AA06C12E5}"/>
              </a:ext>
            </a:extLst>
          </p:cNvPr>
          <p:cNvSpPr>
            <a:spLocks noGrp="1"/>
          </p:cNvSpPr>
          <p:nvPr>
            <p:ph type="pic" sz="quarter" idx="11" hasCustomPrompt="1"/>
          </p:nvPr>
        </p:nvSpPr>
        <p:spPr>
          <a:xfrm>
            <a:off x="7874859" y="0"/>
            <a:ext cx="6755543" cy="8229600"/>
          </a:xfrm>
          <a:solidFill>
            <a:srgbClr val="F6F3F2"/>
          </a:solidFill>
        </p:spPr>
        <p:txBody>
          <a:bodyPr/>
          <a:lstStyle>
            <a:lvl1pPr>
              <a:defRPr lang="en-US"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Graphic 2">
            <a:extLst>
              <a:ext uri="{FF2B5EF4-FFF2-40B4-BE49-F238E27FC236}">
                <a16:creationId xmlns:a16="http://schemas.microsoft.com/office/drawing/2014/main" id="{2F7807F1-53C0-9778-02CC-E8554C5CE97D}"/>
              </a:ext>
            </a:extLst>
          </p:cNvPr>
          <p:cNvSpPr>
            <a:spLocks noChangeAspect="1"/>
          </p:cNvSpPr>
          <p:nvPr/>
        </p:nvSpPr>
        <p:spPr>
          <a:xfrm>
            <a:off x="348616" y="7653425"/>
            <a:ext cx="2440800" cy="224771"/>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392133996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349775" y="317093"/>
            <a:ext cx="5600860" cy="392416"/>
          </a:xfrm>
        </p:spPr>
        <p:txBody>
          <a:bodyPr>
            <a:spAutoFit/>
          </a:bodyPr>
          <a:lstStyle>
            <a:lvl1pPr>
              <a:defRPr sz="3000" b="0" i="0">
                <a:solidFill>
                  <a:schemeClr val="bg1"/>
                </a:solidFill>
                <a:latin typeface="+mj-lt"/>
              </a:defRPr>
            </a:lvl1pPr>
          </a:lstStyle>
          <a:p>
            <a:r>
              <a:rPr lang="en-US"/>
              <a:t>Click to edit Master title style</a:t>
            </a:r>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7399022" y="288248"/>
            <a:ext cx="3354704" cy="860616"/>
          </a:xfrm>
        </p:spPr>
        <p:txBody>
          <a:bodyPr anchor="t"/>
          <a:lstStyle>
            <a:lvl1pPr marL="0" indent="0" algn="l">
              <a:spcBef>
                <a:spcPts val="0"/>
              </a:spcBef>
              <a:spcAft>
                <a:spcPts val="0"/>
              </a:spcAft>
              <a:buNone/>
              <a:defRPr sz="16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GB"/>
              <a:t>Supporting details – delete if not required</a:t>
            </a:r>
          </a:p>
        </p:txBody>
      </p:sp>
      <p:sp>
        <p:nvSpPr>
          <p:cNvPr id="32" name="Text Placeholder 31">
            <a:extLst>
              <a:ext uri="{FF2B5EF4-FFF2-40B4-BE49-F238E27FC236}">
                <a16:creationId xmlns:a16="http://schemas.microsoft.com/office/drawing/2014/main" id="{BE8CDE24-BE6D-421C-9ED6-9443D70EB983}"/>
              </a:ext>
            </a:extLst>
          </p:cNvPr>
          <p:cNvSpPr>
            <a:spLocks noGrp="1"/>
          </p:cNvSpPr>
          <p:nvPr>
            <p:ph type="body" sz="quarter" idx="10" hasCustomPrompt="1"/>
          </p:nvPr>
        </p:nvSpPr>
        <p:spPr>
          <a:xfrm>
            <a:off x="10925176" y="288248"/>
            <a:ext cx="3354704" cy="860616"/>
          </a:xfrm>
        </p:spPr>
        <p:txBody>
          <a:bodyPr anchor="t"/>
          <a:lstStyle>
            <a:lvl1pPr>
              <a:spcBef>
                <a:spcPts val="0"/>
              </a:spcBef>
              <a:spcAft>
                <a:spcPts val="0"/>
              </a:spcAft>
              <a:defRPr sz="1680">
                <a:solidFill>
                  <a:schemeClr val="bg1"/>
                </a:solidFill>
              </a:defRPr>
            </a:lvl1pPr>
          </a:lstStyle>
          <a:p>
            <a:r>
              <a:rPr lang="en-GB" dirty="0"/>
              <a:t>Supporting details – delete if not required</a:t>
            </a:r>
          </a:p>
        </p:txBody>
      </p:sp>
      <p:sp>
        <p:nvSpPr>
          <p:cNvPr id="5" name="Graphic 3">
            <a:extLst>
              <a:ext uri="{FF2B5EF4-FFF2-40B4-BE49-F238E27FC236}">
                <a16:creationId xmlns:a16="http://schemas.microsoft.com/office/drawing/2014/main" id="{A2702702-3E11-9FDF-5B64-822892AA8E70}"/>
              </a:ext>
            </a:extLst>
          </p:cNvPr>
          <p:cNvSpPr/>
          <p:nvPr/>
        </p:nvSpPr>
        <p:spPr>
          <a:xfrm>
            <a:off x="341158" y="6612112"/>
            <a:ext cx="13938722" cy="1283598"/>
          </a:xfrm>
          <a:custGeom>
            <a:avLst/>
            <a:gdLst>
              <a:gd name="connsiteX0" fmla="*/ 1169268 w 11823056"/>
              <a:gd name="connsiteY0" fmla="*/ 997887 h 1088769"/>
              <a:gd name="connsiteX1" fmla="*/ 988876 w 11823056"/>
              <a:gd name="connsiteY1" fmla="*/ 692983 h 1088769"/>
              <a:gd name="connsiteX2" fmla="*/ 1169268 w 11823056"/>
              <a:gd name="connsiteY2" fmla="*/ 388078 h 1088769"/>
              <a:gd name="connsiteX3" fmla="*/ 1349660 w 11823056"/>
              <a:gd name="connsiteY3" fmla="*/ 692983 h 1088769"/>
              <a:gd name="connsiteX4" fmla="*/ 1169268 w 11823056"/>
              <a:gd name="connsiteY4" fmla="*/ 997887 h 1088769"/>
              <a:gd name="connsiteX5" fmla="*/ 1169268 w 11823056"/>
              <a:gd name="connsiteY5" fmla="*/ 306324 h 1088769"/>
              <a:gd name="connsiteX6" fmla="*/ 802539 w 11823056"/>
              <a:gd name="connsiteY6" fmla="*/ 692983 h 1088769"/>
              <a:gd name="connsiteX7" fmla="*/ 1169268 w 11823056"/>
              <a:gd name="connsiteY7" fmla="*/ 1079641 h 1088769"/>
              <a:gd name="connsiteX8" fmla="*/ 1535997 w 11823056"/>
              <a:gd name="connsiteY8" fmla="*/ 692983 h 1088769"/>
              <a:gd name="connsiteX9" fmla="*/ 1169268 w 11823056"/>
              <a:gd name="connsiteY9" fmla="*/ 306324 h 1088769"/>
              <a:gd name="connsiteX10" fmla="*/ 2808786 w 11823056"/>
              <a:gd name="connsiteY10" fmla="*/ 306324 h 1088769"/>
              <a:gd name="connsiteX11" fmla="*/ 2601335 w 11823056"/>
              <a:gd name="connsiteY11" fmla="*/ 414856 h 1088769"/>
              <a:gd name="connsiteX12" fmla="*/ 2592315 w 11823056"/>
              <a:gd name="connsiteY12" fmla="*/ 414856 h 1088769"/>
              <a:gd name="connsiteX13" fmla="*/ 2592315 w 11823056"/>
              <a:gd name="connsiteY13" fmla="*/ 321133 h 1088769"/>
              <a:gd name="connsiteX14" fmla="*/ 2414998 w 11823056"/>
              <a:gd name="connsiteY14" fmla="*/ 321133 h 1088769"/>
              <a:gd name="connsiteX15" fmla="*/ 2414998 w 11823056"/>
              <a:gd name="connsiteY15" fmla="*/ 1064832 h 1088769"/>
              <a:gd name="connsiteX16" fmla="*/ 2592315 w 11823056"/>
              <a:gd name="connsiteY16" fmla="*/ 1064832 h 1088769"/>
              <a:gd name="connsiteX17" fmla="*/ 2592315 w 11823056"/>
              <a:gd name="connsiteY17" fmla="*/ 584451 h 1088769"/>
              <a:gd name="connsiteX18" fmla="*/ 2741139 w 11823056"/>
              <a:gd name="connsiteY18" fmla="*/ 410393 h 1088769"/>
              <a:gd name="connsiteX19" fmla="*/ 2868848 w 11823056"/>
              <a:gd name="connsiteY19" fmla="*/ 556253 h 1088769"/>
              <a:gd name="connsiteX20" fmla="*/ 2868848 w 11823056"/>
              <a:gd name="connsiteY20" fmla="*/ 1064832 h 1088769"/>
              <a:gd name="connsiteX21" fmla="*/ 3046165 w 11823056"/>
              <a:gd name="connsiteY21" fmla="*/ 1064832 h 1088769"/>
              <a:gd name="connsiteX22" fmla="*/ 3046165 w 11823056"/>
              <a:gd name="connsiteY22" fmla="*/ 554630 h 1088769"/>
              <a:gd name="connsiteX23" fmla="*/ 2808786 w 11823056"/>
              <a:gd name="connsiteY23" fmla="*/ 306324 h 1088769"/>
              <a:gd name="connsiteX24" fmla="*/ 3448972 w 11823056"/>
              <a:gd name="connsiteY24" fmla="*/ 306324 h 1088769"/>
              <a:gd name="connsiteX25" fmla="*/ 3161985 w 11823056"/>
              <a:gd name="connsiteY25" fmla="*/ 520548 h 1088769"/>
              <a:gd name="connsiteX26" fmla="*/ 3343812 w 11823056"/>
              <a:gd name="connsiteY26" fmla="*/ 734773 h 1088769"/>
              <a:gd name="connsiteX27" fmla="*/ 3494070 w 11823056"/>
              <a:gd name="connsiteY27" fmla="*/ 771897 h 1088769"/>
              <a:gd name="connsiteX28" fmla="*/ 3609890 w 11823056"/>
              <a:gd name="connsiteY28" fmla="*/ 882052 h 1088769"/>
              <a:gd name="connsiteX29" fmla="*/ 3461067 w 11823056"/>
              <a:gd name="connsiteY29" fmla="*/ 1001133 h 1088769"/>
              <a:gd name="connsiteX30" fmla="*/ 3289694 w 11823056"/>
              <a:gd name="connsiteY30" fmla="*/ 828699 h 1088769"/>
              <a:gd name="connsiteX31" fmla="*/ 3130416 w 11823056"/>
              <a:gd name="connsiteY31" fmla="*/ 873329 h 1088769"/>
              <a:gd name="connsiteX32" fmla="*/ 3441593 w 11823056"/>
              <a:gd name="connsiteY32" fmla="*/ 1080047 h 1088769"/>
              <a:gd name="connsiteX33" fmla="*/ 3754204 w 11823056"/>
              <a:gd name="connsiteY33" fmla="*/ 837625 h 1088769"/>
              <a:gd name="connsiteX34" fmla="*/ 3554338 w 11823056"/>
              <a:gd name="connsiteY34" fmla="*/ 614474 h 1088769"/>
              <a:gd name="connsiteX35" fmla="*/ 3410024 w 11823056"/>
              <a:gd name="connsiteY35" fmla="*/ 578770 h 1088769"/>
              <a:gd name="connsiteX36" fmla="*/ 3306299 w 11823056"/>
              <a:gd name="connsiteY36" fmla="*/ 480584 h 1088769"/>
              <a:gd name="connsiteX37" fmla="*/ 3434008 w 11823056"/>
              <a:gd name="connsiteY37" fmla="*/ 385441 h 1088769"/>
              <a:gd name="connsiteX38" fmla="*/ 3587341 w 11823056"/>
              <a:gd name="connsiteY38" fmla="*/ 528257 h 1088769"/>
              <a:gd name="connsiteX39" fmla="*/ 3737599 w 11823056"/>
              <a:gd name="connsiteY39" fmla="*/ 483627 h 1088769"/>
              <a:gd name="connsiteX40" fmla="*/ 3448972 w 11823056"/>
              <a:gd name="connsiteY40" fmla="*/ 306324 h 1088769"/>
              <a:gd name="connsiteX41" fmla="*/ 4194524 w 11823056"/>
              <a:gd name="connsiteY41" fmla="*/ 997887 h 1088769"/>
              <a:gd name="connsiteX42" fmla="*/ 4014132 w 11823056"/>
              <a:gd name="connsiteY42" fmla="*/ 692983 h 1088769"/>
              <a:gd name="connsiteX43" fmla="*/ 4194524 w 11823056"/>
              <a:gd name="connsiteY43" fmla="*/ 388078 h 1088769"/>
              <a:gd name="connsiteX44" fmla="*/ 4374916 w 11823056"/>
              <a:gd name="connsiteY44" fmla="*/ 692983 h 1088769"/>
              <a:gd name="connsiteX45" fmla="*/ 4194524 w 11823056"/>
              <a:gd name="connsiteY45" fmla="*/ 997887 h 1088769"/>
              <a:gd name="connsiteX46" fmla="*/ 4194524 w 11823056"/>
              <a:gd name="connsiteY46" fmla="*/ 306324 h 1088769"/>
              <a:gd name="connsiteX47" fmla="*/ 3827796 w 11823056"/>
              <a:gd name="connsiteY47" fmla="*/ 692983 h 1088769"/>
              <a:gd name="connsiteX48" fmla="*/ 4194524 w 11823056"/>
              <a:gd name="connsiteY48" fmla="*/ 1079641 h 1088769"/>
              <a:gd name="connsiteX49" fmla="*/ 4561253 w 11823056"/>
              <a:gd name="connsiteY49" fmla="*/ 692983 h 1088769"/>
              <a:gd name="connsiteX50" fmla="*/ 4194524 w 11823056"/>
              <a:gd name="connsiteY50" fmla="*/ 306324 h 1088769"/>
              <a:gd name="connsiteX51" fmla="*/ 5060201 w 11823056"/>
              <a:gd name="connsiteY51" fmla="*/ 306324 h 1088769"/>
              <a:gd name="connsiteX52" fmla="*/ 4852750 w 11823056"/>
              <a:gd name="connsiteY52" fmla="*/ 414856 h 1088769"/>
              <a:gd name="connsiteX53" fmla="*/ 4843731 w 11823056"/>
              <a:gd name="connsiteY53" fmla="*/ 414856 h 1088769"/>
              <a:gd name="connsiteX54" fmla="*/ 4843731 w 11823056"/>
              <a:gd name="connsiteY54" fmla="*/ 321133 h 1088769"/>
              <a:gd name="connsiteX55" fmla="*/ 4666414 w 11823056"/>
              <a:gd name="connsiteY55" fmla="*/ 321133 h 1088769"/>
              <a:gd name="connsiteX56" fmla="*/ 4666414 w 11823056"/>
              <a:gd name="connsiteY56" fmla="*/ 1064832 h 1088769"/>
              <a:gd name="connsiteX57" fmla="*/ 4843731 w 11823056"/>
              <a:gd name="connsiteY57" fmla="*/ 1064832 h 1088769"/>
              <a:gd name="connsiteX58" fmla="*/ 4843731 w 11823056"/>
              <a:gd name="connsiteY58" fmla="*/ 584451 h 1088769"/>
              <a:gd name="connsiteX59" fmla="*/ 4992554 w 11823056"/>
              <a:gd name="connsiteY59" fmla="*/ 410393 h 1088769"/>
              <a:gd name="connsiteX60" fmla="*/ 5120263 w 11823056"/>
              <a:gd name="connsiteY60" fmla="*/ 556253 h 1088769"/>
              <a:gd name="connsiteX61" fmla="*/ 5120263 w 11823056"/>
              <a:gd name="connsiteY61" fmla="*/ 1064832 h 1088769"/>
              <a:gd name="connsiteX62" fmla="*/ 5297580 w 11823056"/>
              <a:gd name="connsiteY62" fmla="*/ 1064832 h 1088769"/>
              <a:gd name="connsiteX63" fmla="*/ 5297580 w 11823056"/>
              <a:gd name="connsiteY63" fmla="*/ 554630 h 1088769"/>
              <a:gd name="connsiteX64" fmla="*/ 5060201 w 11823056"/>
              <a:gd name="connsiteY64" fmla="*/ 306324 h 1088769"/>
              <a:gd name="connsiteX65" fmla="*/ 7694744 w 11823056"/>
              <a:gd name="connsiteY65" fmla="*/ 997887 h 1088769"/>
              <a:gd name="connsiteX66" fmla="*/ 7514353 w 11823056"/>
              <a:gd name="connsiteY66" fmla="*/ 692983 h 1088769"/>
              <a:gd name="connsiteX67" fmla="*/ 7694744 w 11823056"/>
              <a:gd name="connsiteY67" fmla="*/ 388078 h 1088769"/>
              <a:gd name="connsiteX68" fmla="*/ 7875136 w 11823056"/>
              <a:gd name="connsiteY68" fmla="*/ 692983 h 1088769"/>
              <a:gd name="connsiteX69" fmla="*/ 7694744 w 11823056"/>
              <a:gd name="connsiteY69" fmla="*/ 997887 h 1088769"/>
              <a:gd name="connsiteX70" fmla="*/ 7694744 w 11823056"/>
              <a:gd name="connsiteY70" fmla="*/ 306324 h 1088769"/>
              <a:gd name="connsiteX71" fmla="*/ 7328015 w 11823056"/>
              <a:gd name="connsiteY71" fmla="*/ 692983 h 1088769"/>
              <a:gd name="connsiteX72" fmla="*/ 7694744 w 11823056"/>
              <a:gd name="connsiteY72" fmla="*/ 1079641 h 1088769"/>
              <a:gd name="connsiteX73" fmla="*/ 8061473 w 11823056"/>
              <a:gd name="connsiteY73" fmla="*/ 692983 h 1088769"/>
              <a:gd name="connsiteX74" fmla="*/ 7694744 w 11823056"/>
              <a:gd name="connsiteY74" fmla="*/ 306324 h 1088769"/>
              <a:gd name="connsiteX75" fmla="*/ 9334262 w 11823056"/>
              <a:gd name="connsiteY75" fmla="*/ 306324 h 1088769"/>
              <a:gd name="connsiteX76" fmla="*/ 9126810 w 11823056"/>
              <a:gd name="connsiteY76" fmla="*/ 414856 h 1088769"/>
              <a:gd name="connsiteX77" fmla="*/ 9117791 w 11823056"/>
              <a:gd name="connsiteY77" fmla="*/ 414856 h 1088769"/>
              <a:gd name="connsiteX78" fmla="*/ 9117791 w 11823056"/>
              <a:gd name="connsiteY78" fmla="*/ 321133 h 1088769"/>
              <a:gd name="connsiteX79" fmla="*/ 8940474 w 11823056"/>
              <a:gd name="connsiteY79" fmla="*/ 321133 h 1088769"/>
              <a:gd name="connsiteX80" fmla="*/ 8940474 w 11823056"/>
              <a:gd name="connsiteY80" fmla="*/ 1064832 h 1088769"/>
              <a:gd name="connsiteX81" fmla="*/ 9117791 w 11823056"/>
              <a:gd name="connsiteY81" fmla="*/ 1064832 h 1088769"/>
              <a:gd name="connsiteX82" fmla="*/ 9117791 w 11823056"/>
              <a:gd name="connsiteY82" fmla="*/ 584451 h 1088769"/>
              <a:gd name="connsiteX83" fmla="*/ 9266614 w 11823056"/>
              <a:gd name="connsiteY83" fmla="*/ 410393 h 1088769"/>
              <a:gd name="connsiteX84" fmla="*/ 9394324 w 11823056"/>
              <a:gd name="connsiteY84" fmla="*/ 556253 h 1088769"/>
              <a:gd name="connsiteX85" fmla="*/ 9394324 w 11823056"/>
              <a:gd name="connsiteY85" fmla="*/ 1064832 h 1088769"/>
              <a:gd name="connsiteX86" fmla="*/ 9571641 w 11823056"/>
              <a:gd name="connsiteY86" fmla="*/ 1064832 h 1088769"/>
              <a:gd name="connsiteX87" fmla="*/ 9571641 w 11823056"/>
              <a:gd name="connsiteY87" fmla="*/ 554630 h 1088769"/>
              <a:gd name="connsiteX88" fmla="*/ 9334262 w 11823056"/>
              <a:gd name="connsiteY88" fmla="*/ 306324 h 1088769"/>
              <a:gd name="connsiteX89" fmla="*/ 9974653 w 11823056"/>
              <a:gd name="connsiteY89" fmla="*/ 306324 h 1088769"/>
              <a:gd name="connsiteX90" fmla="*/ 9687666 w 11823056"/>
              <a:gd name="connsiteY90" fmla="*/ 520548 h 1088769"/>
              <a:gd name="connsiteX91" fmla="*/ 9869493 w 11823056"/>
              <a:gd name="connsiteY91" fmla="*/ 734773 h 1088769"/>
              <a:gd name="connsiteX92" fmla="*/ 10019751 w 11823056"/>
              <a:gd name="connsiteY92" fmla="*/ 771897 h 1088769"/>
              <a:gd name="connsiteX93" fmla="*/ 10135571 w 11823056"/>
              <a:gd name="connsiteY93" fmla="*/ 882052 h 1088769"/>
              <a:gd name="connsiteX94" fmla="*/ 9986747 w 11823056"/>
              <a:gd name="connsiteY94" fmla="*/ 1001133 h 1088769"/>
              <a:gd name="connsiteX95" fmla="*/ 9815375 w 11823056"/>
              <a:gd name="connsiteY95" fmla="*/ 828699 h 1088769"/>
              <a:gd name="connsiteX96" fmla="*/ 9656097 w 11823056"/>
              <a:gd name="connsiteY96" fmla="*/ 873329 h 1088769"/>
              <a:gd name="connsiteX97" fmla="*/ 9967273 w 11823056"/>
              <a:gd name="connsiteY97" fmla="*/ 1080047 h 1088769"/>
              <a:gd name="connsiteX98" fmla="*/ 10279884 w 11823056"/>
              <a:gd name="connsiteY98" fmla="*/ 837625 h 1088769"/>
              <a:gd name="connsiteX99" fmla="*/ 10080018 w 11823056"/>
              <a:gd name="connsiteY99" fmla="*/ 614474 h 1088769"/>
              <a:gd name="connsiteX100" fmla="*/ 9935705 w 11823056"/>
              <a:gd name="connsiteY100" fmla="*/ 578770 h 1088769"/>
              <a:gd name="connsiteX101" fmla="*/ 9831980 w 11823056"/>
              <a:gd name="connsiteY101" fmla="*/ 480584 h 1088769"/>
              <a:gd name="connsiteX102" fmla="*/ 9959688 w 11823056"/>
              <a:gd name="connsiteY102" fmla="*/ 385441 h 1088769"/>
              <a:gd name="connsiteX103" fmla="*/ 10113022 w 11823056"/>
              <a:gd name="connsiteY103" fmla="*/ 528257 h 1088769"/>
              <a:gd name="connsiteX104" fmla="*/ 10263280 w 11823056"/>
              <a:gd name="connsiteY104" fmla="*/ 483627 h 1088769"/>
              <a:gd name="connsiteX105" fmla="*/ 9974653 w 11823056"/>
              <a:gd name="connsiteY105" fmla="*/ 306324 h 1088769"/>
              <a:gd name="connsiteX106" fmla="*/ 10720000 w 11823056"/>
              <a:gd name="connsiteY106" fmla="*/ 997887 h 1088769"/>
              <a:gd name="connsiteX107" fmla="*/ 10539607 w 11823056"/>
              <a:gd name="connsiteY107" fmla="*/ 692983 h 1088769"/>
              <a:gd name="connsiteX108" fmla="*/ 10720000 w 11823056"/>
              <a:gd name="connsiteY108" fmla="*/ 388078 h 1088769"/>
              <a:gd name="connsiteX109" fmla="*/ 10900392 w 11823056"/>
              <a:gd name="connsiteY109" fmla="*/ 692983 h 1088769"/>
              <a:gd name="connsiteX110" fmla="*/ 10720000 w 11823056"/>
              <a:gd name="connsiteY110" fmla="*/ 997887 h 1088769"/>
              <a:gd name="connsiteX111" fmla="*/ 10720000 w 11823056"/>
              <a:gd name="connsiteY111" fmla="*/ 306324 h 1088769"/>
              <a:gd name="connsiteX112" fmla="*/ 10353271 w 11823056"/>
              <a:gd name="connsiteY112" fmla="*/ 692983 h 1088769"/>
              <a:gd name="connsiteX113" fmla="*/ 10720000 w 11823056"/>
              <a:gd name="connsiteY113" fmla="*/ 1079641 h 1088769"/>
              <a:gd name="connsiteX114" fmla="*/ 11086728 w 11823056"/>
              <a:gd name="connsiteY114" fmla="*/ 692983 h 1088769"/>
              <a:gd name="connsiteX115" fmla="*/ 10720000 w 11823056"/>
              <a:gd name="connsiteY115" fmla="*/ 306324 h 1088769"/>
              <a:gd name="connsiteX116" fmla="*/ 11585677 w 11823056"/>
              <a:gd name="connsiteY116" fmla="*/ 306324 h 1088769"/>
              <a:gd name="connsiteX117" fmla="*/ 11378226 w 11823056"/>
              <a:gd name="connsiteY117" fmla="*/ 414856 h 1088769"/>
              <a:gd name="connsiteX118" fmla="*/ 11369206 w 11823056"/>
              <a:gd name="connsiteY118" fmla="*/ 414856 h 1088769"/>
              <a:gd name="connsiteX119" fmla="*/ 11369206 w 11823056"/>
              <a:gd name="connsiteY119" fmla="*/ 321133 h 1088769"/>
              <a:gd name="connsiteX120" fmla="*/ 11191889 w 11823056"/>
              <a:gd name="connsiteY120" fmla="*/ 321133 h 1088769"/>
              <a:gd name="connsiteX121" fmla="*/ 11191889 w 11823056"/>
              <a:gd name="connsiteY121" fmla="*/ 1064832 h 1088769"/>
              <a:gd name="connsiteX122" fmla="*/ 11369206 w 11823056"/>
              <a:gd name="connsiteY122" fmla="*/ 1064832 h 1088769"/>
              <a:gd name="connsiteX123" fmla="*/ 11369206 w 11823056"/>
              <a:gd name="connsiteY123" fmla="*/ 584451 h 1088769"/>
              <a:gd name="connsiteX124" fmla="*/ 11518030 w 11823056"/>
              <a:gd name="connsiteY124" fmla="*/ 410393 h 1088769"/>
              <a:gd name="connsiteX125" fmla="*/ 11645739 w 11823056"/>
              <a:gd name="connsiteY125" fmla="*/ 556253 h 1088769"/>
              <a:gd name="connsiteX126" fmla="*/ 11645739 w 11823056"/>
              <a:gd name="connsiteY126" fmla="*/ 1064832 h 1088769"/>
              <a:gd name="connsiteX127" fmla="*/ 11823056 w 11823056"/>
              <a:gd name="connsiteY127" fmla="*/ 1064832 h 1088769"/>
              <a:gd name="connsiteX128" fmla="*/ 11823056 w 11823056"/>
              <a:gd name="connsiteY128" fmla="*/ 554630 h 1088769"/>
              <a:gd name="connsiteX129" fmla="*/ 11585677 w 11823056"/>
              <a:gd name="connsiteY129" fmla="*/ 306324 h 1088769"/>
              <a:gd name="connsiteX130" fmla="*/ 697379 w 11823056"/>
              <a:gd name="connsiteY130" fmla="*/ 23735 h 1088769"/>
              <a:gd name="connsiteX131" fmla="*/ 511042 w 11823056"/>
              <a:gd name="connsiteY131" fmla="*/ 23735 h 1088769"/>
              <a:gd name="connsiteX132" fmla="*/ 511042 w 11823056"/>
              <a:gd name="connsiteY132" fmla="*/ 792589 h 1088769"/>
              <a:gd name="connsiteX133" fmla="*/ 348690 w 11823056"/>
              <a:gd name="connsiteY133" fmla="*/ 991801 h 1088769"/>
              <a:gd name="connsiteX134" fmla="*/ 186337 w 11823056"/>
              <a:gd name="connsiteY134" fmla="*/ 777577 h 1088769"/>
              <a:gd name="connsiteX135" fmla="*/ 186337 w 11823056"/>
              <a:gd name="connsiteY135" fmla="*/ 634761 h 1088769"/>
              <a:gd name="connsiteX136" fmla="*/ 0 w 11823056"/>
              <a:gd name="connsiteY136" fmla="*/ 680811 h 1088769"/>
              <a:gd name="connsiteX137" fmla="*/ 0 w 11823056"/>
              <a:gd name="connsiteY137" fmla="*/ 744713 h 1088769"/>
              <a:gd name="connsiteX138" fmla="*/ 348690 w 11823056"/>
              <a:gd name="connsiteY138" fmla="*/ 1088364 h 1088769"/>
              <a:gd name="connsiteX139" fmla="*/ 697379 w 11823056"/>
              <a:gd name="connsiteY139" fmla="*/ 744713 h 1088769"/>
              <a:gd name="connsiteX140" fmla="*/ 697379 w 11823056"/>
              <a:gd name="connsiteY140" fmla="*/ 23735 h 1088769"/>
              <a:gd name="connsiteX141" fmla="*/ 1818474 w 11823056"/>
              <a:gd name="connsiteY141" fmla="*/ 23735 h 1088769"/>
              <a:gd name="connsiteX142" fmla="*/ 1641157 w 11823056"/>
              <a:gd name="connsiteY142" fmla="*/ 23735 h 1088769"/>
              <a:gd name="connsiteX143" fmla="*/ 1641157 w 11823056"/>
              <a:gd name="connsiteY143" fmla="*/ 1064832 h 1088769"/>
              <a:gd name="connsiteX144" fmla="*/ 1818474 w 11823056"/>
              <a:gd name="connsiteY144" fmla="*/ 1064832 h 1088769"/>
              <a:gd name="connsiteX145" fmla="*/ 1818474 w 11823056"/>
              <a:gd name="connsiteY145" fmla="*/ 584451 h 1088769"/>
              <a:gd name="connsiteX146" fmla="*/ 1967298 w 11823056"/>
              <a:gd name="connsiteY146" fmla="*/ 410393 h 1088769"/>
              <a:gd name="connsiteX147" fmla="*/ 2095007 w 11823056"/>
              <a:gd name="connsiteY147" fmla="*/ 556253 h 1088769"/>
              <a:gd name="connsiteX148" fmla="*/ 2095007 w 11823056"/>
              <a:gd name="connsiteY148" fmla="*/ 1064832 h 1088769"/>
              <a:gd name="connsiteX149" fmla="*/ 2272324 w 11823056"/>
              <a:gd name="connsiteY149" fmla="*/ 1064832 h 1088769"/>
              <a:gd name="connsiteX150" fmla="*/ 2272324 w 11823056"/>
              <a:gd name="connsiteY150" fmla="*/ 554630 h 1088769"/>
              <a:gd name="connsiteX151" fmla="*/ 2034945 w 11823056"/>
              <a:gd name="connsiteY151" fmla="*/ 306324 h 1088769"/>
              <a:gd name="connsiteX152" fmla="*/ 1827494 w 11823056"/>
              <a:gd name="connsiteY152" fmla="*/ 414856 h 1088769"/>
              <a:gd name="connsiteX153" fmla="*/ 1818474 w 11823056"/>
              <a:gd name="connsiteY153" fmla="*/ 414856 h 1088769"/>
              <a:gd name="connsiteX154" fmla="*/ 1818474 w 11823056"/>
              <a:gd name="connsiteY154" fmla="*/ 23735 h 1088769"/>
              <a:gd name="connsiteX155" fmla="*/ 7222855 w 11823056"/>
              <a:gd name="connsiteY155" fmla="*/ 23735 h 1088769"/>
              <a:gd name="connsiteX156" fmla="*/ 7036518 w 11823056"/>
              <a:gd name="connsiteY156" fmla="*/ 23735 h 1088769"/>
              <a:gd name="connsiteX157" fmla="*/ 7036518 w 11823056"/>
              <a:gd name="connsiteY157" fmla="*/ 792589 h 1088769"/>
              <a:gd name="connsiteX158" fmla="*/ 6874166 w 11823056"/>
              <a:gd name="connsiteY158" fmla="*/ 991801 h 1088769"/>
              <a:gd name="connsiteX159" fmla="*/ 6711813 w 11823056"/>
              <a:gd name="connsiteY159" fmla="*/ 777577 h 1088769"/>
              <a:gd name="connsiteX160" fmla="*/ 6711813 w 11823056"/>
              <a:gd name="connsiteY160" fmla="*/ 634761 h 1088769"/>
              <a:gd name="connsiteX161" fmla="*/ 6525476 w 11823056"/>
              <a:gd name="connsiteY161" fmla="*/ 680811 h 1088769"/>
              <a:gd name="connsiteX162" fmla="*/ 6525476 w 11823056"/>
              <a:gd name="connsiteY162" fmla="*/ 744713 h 1088769"/>
              <a:gd name="connsiteX163" fmla="*/ 6874166 w 11823056"/>
              <a:gd name="connsiteY163" fmla="*/ 1088364 h 1088769"/>
              <a:gd name="connsiteX164" fmla="*/ 7222855 w 11823056"/>
              <a:gd name="connsiteY164" fmla="*/ 744713 h 1088769"/>
              <a:gd name="connsiteX165" fmla="*/ 7222855 w 11823056"/>
              <a:gd name="connsiteY165" fmla="*/ 23735 h 1088769"/>
              <a:gd name="connsiteX166" fmla="*/ 8343950 w 11823056"/>
              <a:gd name="connsiteY166" fmla="*/ 23735 h 1088769"/>
              <a:gd name="connsiteX167" fmla="*/ 8166633 w 11823056"/>
              <a:gd name="connsiteY167" fmla="*/ 23735 h 1088769"/>
              <a:gd name="connsiteX168" fmla="*/ 8166633 w 11823056"/>
              <a:gd name="connsiteY168" fmla="*/ 1064832 h 1088769"/>
              <a:gd name="connsiteX169" fmla="*/ 8343950 w 11823056"/>
              <a:gd name="connsiteY169" fmla="*/ 1064832 h 1088769"/>
              <a:gd name="connsiteX170" fmla="*/ 8343950 w 11823056"/>
              <a:gd name="connsiteY170" fmla="*/ 584451 h 1088769"/>
              <a:gd name="connsiteX171" fmla="*/ 8492774 w 11823056"/>
              <a:gd name="connsiteY171" fmla="*/ 410393 h 1088769"/>
              <a:gd name="connsiteX172" fmla="*/ 8620483 w 11823056"/>
              <a:gd name="connsiteY172" fmla="*/ 556253 h 1088769"/>
              <a:gd name="connsiteX173" fmla="*/ 8620483 w 11823056"/>
              <a:gd name="connsiteY173" fmla="*/ 1064832 h 1088769"/>
              <a:gd name="connsiteX174" fmla="*/ 8797800 w 11823056"/>
              <a:gd name="connsiteY174" fmla="*/ 1064832 h 1088769"/>
              <a:gd name="connsiteX175" fmla="*/ 8797800 w 11823056"/>
              <a:gd name="connsiteY175" fmla="*/ 554630 h 1088769"/>
              <a:gd name="connsiteX176" fmla="*/ 8560421 w 11823056"/>
              <a:gd name="connsiteY176" fmla="*/ 306324 h 1088769"/>
              <a:gd name="connsiteX177" fmla="*/ 8352970 w 11823056"/>
              <a:gd name="connsiteY177" fmla="*/ 414856 h 1088769"/>
              <a:gd name="connsiteX178" fmla="*/ 8343950 w 11823056"/>
              <a:gd name="connsiteY178" fmla="*/ 414856 h 1088769"/>
              <a:gd name="connsiteX179" fmla="*/ 8343950 w 11823056"/>
              <a:gd name="connsiteY179" fmla="*/ 23735 h 1088769"/>
              <a:gd name="connsiteX180" fmla="*/ 5882214 w 11823056"/>
              <a:gd name="connsiteY180" fmla="*/ 980035 h 1088769"/>
              <a:gd name="connsiteX181" fmla="*/ 5649345 w 11823056"/>
              <a:gd name="connsiteY181" fmla="*/ 740656 h 1088769"/>
              <a:gd name="connsiteX182" fmla="*/ 5740976 w 11823056"/>
              <a:gd name="connsiteY182" fmla="*/ 551790 h 1088769"/>
              <a:gd name="connsiteX183" fmla="*/ 6080646 w 11823056"/>
              <a:gd name="connsiteY183" fmla="*/ 919176 h 1088769"/>
              <a:gd name="connsiteX184" fmla="*/ 5882214 w 11823056"/>
              <a:gd name="connsiteY184" fmla="*/ 980035 h 1088769"/>
              <a:gd name="connsiteX185" fmla="*/ 6212865 w 11823056"/>
              <a:gd name="connsiteY185" fmla="*/ 797052 h 1088769"/>
              <a:gd name="connsiteX186" fmla="*/ 5918293 w 11823056"/>
              <a:gd name="connsiteY186" fmla="*/ 475716 h 1088769"/>
              <a:gd name="connsiteX187" fmla="*/ 6064042 w 11823056"/>
              <a:gd name="connsiteY187" fmla="*/ 447518 h 1088769"/>
              <a:gd name="connsiteX188" fmla="*/ 6260833 w 11823056"/>
              <a:gd name="connsiteY188" fmla="*/ 638007 h 1088769"/>
              <a:gd name="connsiteX189" fmla="*/ 6212865 w 11823056"/>
              <a:gd name="connsiteY189" fmla="*/ 797052 h 1088769"/>
              <a:gd name="connsiteX190" fmla="*/ 5877705 w 11823056"/>
              <a:gd name="connsiteY190" fmla="*/ 432708 h 1088769"/>
              <a:gd name="connsiteX191" fmla="*/ 5813132 w 11823056"/>
              <a:gd name="connsiteY191" fmla="*/ 361300 h 1088769"/>
              <a:gd name="connsiteX192" fmla="*/ 5739541 w 11823056"/>
              <a:gd name="connsiteY192" fmla="*/ 214021 h 1088769"/>
              <a:gd name="connsiteX193" fmla="*/ 5882214 w 11823056"/>
              <a:gd name="connsiteY193" fmla="*/ 78711 h 1088769"/>
              <a:gd name="connsiteX194" fmla="*/ 6023453 w 11823056"/>
              <a:gd name="connsiteY194" fmla="*/ 221527 h 1088769"/>
              <a:gd name="connsiteX195" fmla="*/ 5877705 w 11823056"/>
              <a:gd name="connsiteY195" fmla="*/ 432708 h 1088769"/>
              <a:gd name="connsiteX196" fmla="*/ 5886724 w 11823056"/>
              <a:gd name="connsiteY196" fmla="*/ 0 h 1088769"/>
              <a:gd name="connsiteX197" fmla="*/ 5577188 w 11823056"/>
              <a:gd name="connsiteY197" fmla="*/ 257231 h 1088769"/>
              <a:gd name="connsiteX198" fmla="*/ 5697518 w 11823056"/>
              <a:gd name="connsiteY198" fmla="*/ 505537 h 1088769"/>
              <a:gd name="connsiteX199" fmla="*/ 5698952 w 11823056"/>
              <a:gd name="connsiteY199" fmla="*/ 508580 h 1088769"/>
              <a:gd name="connsiteX200" fmla="*/ 5484122 w 11823056"/>
              <a:gd name="connsiteY200" fmla="*/ 807601 h 1088769"/>
              <a:gd name="connsiteX201" fmla="*/ 5786279 w 11823056"/>
              <a:gd name="connsiteY201" fmla="*/ 1088770 h 1088769"/>
              <a:gd name="connsiteX202" fmla="*/ 6125949 w 11823056"/>
              <a:gd name="connsiteY202" fmla="*/ 968269 h 1088769"/>
              <a:gd name="connsiteX203" fmla="*/ 6216145 w 11823056"/>
              <a:gd name="connsiteY203" fmla="*/ 1065035 h 1088769"/>
              <a:gd name="connsiteX204" fmla="*/ 6452089 w 11823056"/>
              <a:gd name="connsiteY204" fmla="*/ 1065035 h 1088769"/>
              <a:gd name="connsiteX205" fmla="*/ 6452089 w 11823056"/>
              <a:gd name="connsiteY205" fmla="*/ 1057529 h 1088769"/>
              <a:gd name="connsiteX206" fmla="*/ 6259808 w 11823056"/>
              <a:gd name="connsiteY206" fmla="*/ 847768 h 1088769"/>
              <a:gd name="connsiteX207" fmla="*/ 6387517 w 11823056"/>
              <a:gd name="connsiteY207" fmla="*/ 557673 h 1088769"/>
              <a:gd name="connsiteX208" fmla="*/ 6190726 w 11823056"/>
              <a:gd name="connsiteY208" fmla="*/ 368806 h 1088769"/>
              <a:gd name="connsiteX209" fmla="*/ 6010334 w 11823056"/>
              <a:gd name="connsiteY209" fmla="*/ 404510 h 1088769"/>
              <a:gd name="connsiteX210" fmla="*/ 6007259 w 11823056"/>
              <a:gd name="connsiteY210" fmla="*/ 398627 h 1088769"/>
              <a:gd name="connsiteX211" fmla="*/ 6169612 w 11823056"/>
              <a:gd name="connsiteY211" fmla="*/ 202255 h 1088769"/>
              <a:gd name="connsiteX212" fmla="*/ 5886724 w 11823056"/>
              <a:gd name="connsiteY212" fmla="*/ 0 h 108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1823056" h="1088769">
                <a:moveTo>
                  <a:pt x="1169268" y="997887"/>
                </a:moveTo>
                <a:cubicBezTo>
                  <a:pt x="1053448" y="997887"/>
                  <a:pt x="988876" y="889355"/>
                  <a:pt x="988876" y="692983"/>
                </a:cubicBezTo>
                <a:cubicBezTo>
                  <a:pt x="988876" y="493568"/>
                  <a:pt x="1053448" y="388078"/>
                  <a:pt x="1169268" y="388078"/>
                </a:cubicBezTo>
                <a:cubicBezTo>
                  <a:pt x="1285088" y="388078"/>
                  <a:pt x="1349660" y="495191"/>
                  <a:pt x="1349660" y="692983"/>
                </a:cubicBezTo>
                <a:cubicBezTo>
                  <a:pt x="1349455" y="892398"/>
                  <a:pt x="1284883" y="997887"/>
                  <a:pt x="1169268" y="997887"/>
                </a:cubicBezTo>
                <a:moveTo>
                  <a:pt x="1169268" y="306324"/>
                </a:moveTo>
                <a:cubicBezTo>
                  <a:pt x="933324" y="306324"/>
                  <a:pt x="802539" y="480381"/>
                  <a:pt x="802539" y="692983"/>
                </a:cubicBezTo>
                <a:cubicBezTo>
                  <a:pt x="802539" y="905584"/>
                  <a:pt x="933324" y="1079641"/>
                  <a:pt x="1169268" y="1079641"/>
                </a:cubicBezTo>
                <a:cubicBezTo>
                  <a:pt x="1405213" y="1079641"/>
                  <a:pt x="1535997" y="905584"/>
                  <a:pt x="1535997" y="692983"/>
                </a:cubicBezTo>
                <a:cubicBezTo>
                  <a:pt x="1535997" y="480381"/>
                  <a:pt x="1405213" y="306324"/>
                  <a:pt x="1169268" y="306324"/>
                </a:cubicBezTo>
                <a:moveTo>
                  <a:pt x="2808786" y="306324"/>
                </a:moveTo>
                <a:cubicBezTo>
                  <a:pt x="2697476" y="306324"/>
                  <a:pt x="2635978" y="353997"/>
                  <a:pt x="2601335" y="414856"/>
                </a:cubicBezTo>
                <a:lnTo>
                  <a:pt x="2592315" y="414856"/>
                </a:lnTo>
                <a:lnTo>
                  <a:pt x="2592315" y="321133"/>
                </a:lnTo>
                <a:lnTo>
                  <a:pt x="2414998" y="321133"/>
                </a:lnTo>
                <a:lnTo>
                  <a:pt x="2414998" y="1064832"/>
                </a:lnTo>
                <a:lnTo>
                  <a:pt x="2592315" y="1064832"/>
                </a:lnTo>
                <a:lnTo>
                  <a:pt x="2592315" y="584451"/>
                </a:lnTo>
                <a:cubicBezTo>
                  <a:pt x="2592315" y="474498"/>
                  <a:pt x="2649508" y="410393"/>
                  <a:pt x="2741139" y="410393"/>
                </a:cubicBezTo>
                <a:cubicBezTo>
                  <a:pt x="2829900" y="410393"/>
                  <a:pt x="2868848" y="468413"/>
                  <a:pt x="2868848" y="556253"/>
                </a:cubicBezTo>
                <a:lnTo>
                  <a:pt x="2868848" y="1064832"/>
                </a:lnTo>
                <a:lnTo>
                  <a:pt x="3046165" y="1064832"/>
                </a:lnTo>
                <a:lnTo>
                  <a:pt x="3046165" y="554630"/>
                </a:lnTo>
                <a:cubicBezTo>
                  <a:pt x="3046370" y="401467"/>
                  <a:pt x="2965194" y="306324"/>
                  <a:pt x="2808786" y="306324"/>
                </a:cubicBezTo>
                <a:moveTo>
                  <a:pt x="3448972" y="306324"/>
                </a:moveTo>
                <a:cubicBezTo>
                  <a:pt x="3285185" y="306324"/>
                  <a:pt x="3161985" y="374689"/>
                  <a:pt x="3161985" y="520548"/>
                </a:cubicBezTo>
                <a:cubicBezTo>
                  <a:pt x="3161985" y="644093"/>
                  <a:pt x="3247671" y="711038"/>
                  <a:pt x="3343812" y="734773"/>
                </a:cubicBezTo>
                <a:lnTo>
                  <a:pt x="3494070" y="771897"/>
                </a:lnTo>
                <a:cubicBezTo>
                  <a:pt x="3573812" y="791169"/>
                  <a:pt x="3609890" y="819570"/>
                  <a:pt x="3609890" y="882052"/>
                </a:cubicBezTo>
                <a:cubicBezTo>
                  <a:pt x="3609890" y="957923"/>
                  <a:pt x="3555773" y="1001133"/>
                  <a:pt x="3461067" y="1001133"/>
                </a:cubicBezTo>
                <a:cubicBezTo>
                  <a:pt x="3358776" y="1001133"/>
                  <a:pt x="3306299" y="952040"/>
                  <a:pt x="3289694" y="828699"/>
                </a:cubicBezTo>
                <a:lnTo>
                  <a:pt x="3130416" y="873329"/>
                </a:lnTo>
                <a:cubicBezTo>
                  <a:pt x="3139436" y="1001336"/>
                  <a:pt x="3259766" y="1080047"/>
                  <a:pt x="3441593" y="1080047"/>
                </a:cubicBezTo>
                <a:cubicBezTo>
                  <a:pt x="3644534" y="1080047"/>
                  <a:pt x="3754204" y="986324"/>
                  <a:pt x="3754204" y="837625"/>
                </a:cubicBezTo>
                <a:cubicBezTo>
                  <a:pt x="3754204" y="697851"/>
                  <a:pt x="3656423" y="639832"/>
                  <a:pt x="3554338" y="614474"/>
                </a:cubicBezTo>
                <a:lnTo>
                  <a:pt x="3410024" y="578770"/>
                </a:lnTo>
                <a:cubicBezTo>
                  <a:pt x="3337867" y="560918"/>
                  <a:pt x="3306299" y="528257"/>
                  <a:pt x="3306299" y="480584"/>
                </a:cubicBezTo>
                <a:cubicBezTo>
                  <a:pt x="3306299" y="421145"/>
                  <a:pt x="3357341" y="385441"/>
                  <a:pt x="3434008" y="385441"/>
                </a:cubicBezTo>
                <a:cubicBezTo>
                  <a:pt x="3524204" y="385441"/>
                  <a:pt x="3579756" y="434534"/>
                  <a:pt x="3587341" y="528257"/>
                </a:cubicBezTo>
                <a:lnTo>
                  <a:pt x="3737599" y="483627"/>
                </a:lnTo>
                <a:cubicBezTo>
                  <a:pt x="3719560" y="379152"/>
                  <a:pt x="3615835" y="306324"/>
                  <a:pt x="3448972" y="306324"/>
                </a:cubicBezTo>
                <a:moveTo>
                  <a:pt x="4194524" y="997887"/>
                </a:moveTo>
                <a:cubicBezTo>
                  <a:pt x="4078704" y="997887"/>
                  <a:pt x="4014132" y="889355"/>
                  <a:pt x="4014132" y="692983"/>
                </a:cubicBezTo>
                <a:cubicBezTo>
                  <a:pt x="4014132" y="493568"/>
                  <a:pt x="4078704" y="388078"/>
                  <a:pt x="4194524" y="388078"/>
                </a:cubicBezTo>
                <a:cubicBezTo>
                  <a:pt x="4310344" y="388078"/>
                  <a:pt x="4374916" y="495191"/>
                  <a:pt x="4374916" y="692983"/>
                </a:cubicBezTo>
                <a:cubicBezTo>
                  <a:pt x="4374916" y="892398"/>
                  <a:pt x="4310139" y="997887"/>
                  <a:pt x="4194524" y="997887"/>
                </a:cubicBezTo>
                <a:moveTo>
                  <a:pt x="4194524" y="306324"/>
                </a:moveTo>
                <a:cubicBezTo>
                  <a:pt x="3958580" y="306324"/>
                  <a:pt x="3827796" y="480381"/>
                  <a:pt x="3827796" y="692983"/>
                </a:cubicBezTo>
                <a:cubicBezTo>
                  <a:pt x="3827796" y="905584"/>
                  <a:pt x="3958580" y="1079641"/>
                  <a:pt x="4194524" y="1079641"/>
                </a:cubicBezTo>
                <a:cubicBezTo>
                  <a:pt x="4430469" y="1079641"/>
                  <a:pt x="4561253" y="905584"/>
                  <a:pt x="4561253" y="692983"/>
                </a:cubicBezTo>
                <a:cubicBezTo>
                  <a:pt x="4561253" y="480381"/>
                  <a:pt x="4430469" y="306324"/>
                  <a:pt x="4194524" y="306324"/>
                </a:cubicBezTo>
                <a:moveTo>
                  <a:pt x="5060201" y="306324"/>
                </a:moveTo>
                <a:cubicBezTo>
                  <a:pt x="4948891" y="306324"/>
                  <a:pt x="4887394" y="353997"/>
                  <a:pt x="4852750" y="414856"/>
                </a:cubicBezTo>
                <a:lnTo>
                  <a:pt x="4843731" y="414856"/>
                </a:lnTo>
                <a:lnTo>
                  <a:pt x="4843731" y="321133"/>
                </a:lnTo>
                <a:lnTo>
                  <a:pt x="4666414" y="321133"/>
                </a:lnTo>
                <a:lnTo>
                  <a:pt x="4666414" y="1064832"/>
                </a:lnTo>
                <a:lnTo>
                  <a:pt x="4843731" y="1064832"/>
                </a:lnTo>
                <a:lnTo>
                  <a:pt x="4843731" y="584451"/>
                </a:lnTo>
                <a:cubicBezTo>
                  <a:pt x="4843731" y="474498"/>
                  <a:pt x="4900923" y="410393"/>
                  <a:pt x="4992554" y="410393"/>
                </a:cubicBezTo>
                <a:cubicBezTo>
                  <a:pt x="5081315" y="410393"/>
                  <a:pt x="5120263" y="468413"/>
                  <a:pt x="5120263" y="556253"/>
                </a:cubicBezTo>
                <a:lnTo>
                  <a:pt x="5120263" y="1064832"/>
                </a:lnTo>
                <a:lnTo>
                  <a:pt x="5297580" y="1064832"/>
                </a:lnTo>
                <a:lnTo>
                  <a:pt x="5297580" y="554630"/>
                </a:lnTo>
                <a:cubicBezTo>
                  <a:pt x="5297580" y="401467"/>
                  <a:pt x="5216404" y="306324"/>
                  <a:pt x="5060201" y="306324"/>
                </a:cubicBezTo>
                <a:moveTo>
                  <a:pt x="7694744" y="997887"/>
                </a:moveTo>
                <a:cubicBezTo>
                  <a:pt x="7578925" y="997887"/>
                  <a:pt x="7514353" y="889355"/>
                  <a:pt x="7514353" y="692983"/>
                </a:cubicBezTo>
                <a:cubicBezTo>
                  <a:pt x="7514353" y="493568"/>
                  <a:pt x="7578925" y="388078"/>
                  <a:pt x="7694744" y="388078"/>
                </a:cubicBezTo>
                <a:cubicBezTo>
                  <a:pt x="7810564" y="388078"/>
                  <a:pt x="7875136" y="495191"/>
                  <a:pt x="7875136" y="692983"/>
                </a:cubicBezTo>
                <a:cubicBezTo>
                  <a:pt x="7875136" y="892398"/>
                  <a:pt x="7810359" y="997887"/>
                  <a:pt x="7694744" y="997887"/>
                </a:cubicBezTo>
                <a:moveTo>
                  <a:pt x="7694744" y="306324"/>
                </a:moveTo>
                <a:cubicBezTo>
                  <a:pt x="7458800" y="306324"/>
                  <a:pt x="7328015" y="480381"/>
                  <a:pt x="7328015" y="692983"/>
                </a:cubicBezTo>
                <a:cubicBezTo>
                  <a:pt x="7328015" y="905584"/>
                  <a:pt x="7458800" y="1079641"/>
                  <a:pt x="7694744" y="1079641"/>
                </a:cubicBezTo>
                <a:cubicBezTo>
                  <a:pt x="7930689" y="1079641"/>
                  <a:pt x="8061473" y="905584"/>
                  <a:pt x="8061473" y="692983"/>
                </a:cubicBezTo>
                <a:cubicBezTo>
                  <a:pt x="8061473" y="480381"/>
                  <a:pt x="7930689" y="306324"/>
                  <a:pt x="7694744" y="306324"/>
                </a:cubicBezTo>
                <a:moveTo>
                  <a:pt x="9334262" y="306324"/>
                </a:moveTo>
                <a:cubicBezTo>
                  <a:pt x="9222951" y="306324"/>
                  <a:pt x="9161454" y="353997"/>
                  <a:pt x="9126810" y="414856"/>
                </a:cubicBezTo>
                <a:lnTo>
                  <a:pt x="9117791" y="414856"/>
                </a:lnTo>
                <a:lnTo>
                  <a:pt x="9117791" y="321133"/>
                </a:lnTo>
                <a:lnTo>
                  <a:pt x="8940474" y="321133"/>
                </a:lnTo>
                <a:lnTo>
                  <a:pt x="8940474" y="1064832"/>
                </a:lnTo>
                <a:lnTo>
                  <a:pt x="9117791" y="1064832"/>
                </a:lnTo>
                <a:lnTo>
                  <a:pt x="9117791" y="584451"/>
                </a:lnTo>
                <a:cubicBezTo>
                  <a:pt x="9117791" y="474498"/>
                  <a:pt x="9174983" y="410393"/>
                  <a:pt x="9266614" y="410393"/>
                </a:cubicBezTo>
                <a:cubicBezTo>
                  <a:pt x="9355376" y="410393"/>
                  <a:pt x="9394324" y="468413"/>
                  <a:pt x="9394324" y="556253"/>
                </a:cubicBezTo>
                <a:lnTo>
                  <a:pt x="9394324" y="1064832"/>
                </a:lnTo>
                <a:lnTo>
                  <a:pt x="9571641" y="1064832"/>
                </a:lnTo>
                <a:lnTo>
                  <a:pt x="9571641" y="554630"/>
                </a:lnTo>
                <a:cubicBezTo>
                  <a:pt x="9571846" y="401467"/>
                  <a:pt x="9490669" y="306324"/>
                  <a:pt x="9334262" y="306324"/>
                </a:cubicBezTo>
                <a:moveTo>
                  <a:pt x="9974653" y="306324"/>
                </a:moveTo>
                <a:cubicBezTo>
                  <a:pt x="9810865" y="306324"/>
                  <a:pt x="9687666" y="374689"/>
                  <a:pt x="9687666" y="520548"/>
                </a:cubicBezTo>
                <a:cubicBezTo>
                  <a:pt x="9687666" y="644093"/>
                  <a:pt x="9773352" y="711038"/>
                  <a:pt x="9869493" y="734773"/>
                </a:cubicBezTo>
                <a:lnTo>
                  <a:pt x="10019751" y="771897"/>
                </a:lnTo>
                <a:cubicBezTo>
                  <a:pt x="10099492" y="791169"/>
                  <a:pt x="10135571" y="819570"/>
                  <a:pt x="10135571" y="882052"/>
                </a:cubicBezTo>
                <a:cubicBezTo>
                  <a:pt x="10135571" y="957923"/>
                  <a:pt x="10081453" y="1001133"/>
                  <a:pt x="9986747" y="1001133"/>
                </a:cubicBezTo>
                <a:cubicBezTo>
                  <a:pt x="9884457" y="1001133"/>
                  <a:pt x="9831980" y="952040"/>
                  <a:pt x="9815375" y="828699"/>
                </a:cubicBezTo>
                <a:lnTo>
                  <a:pt x="9656097" y="873329"/>
                </a:lnTo>
                <a:cubicBezTo>
                  <a:pt x="9665117" y="1001336"/>
                  <a:pt x="9785446" y="1080047"/>
                  <a:pt x="9967273" y="1080047"/>
                </a:cubicBezTo>
                <a:cubicBezTo>
                  <a:pt x="10170215" y="1080047"/>
                  <a:pt x="10279884" y="986324"/>
                  <a:pt x="10279884" y="837625"/>
                </a:cubicBezTo>
                <a:cubicBezTo>
                  <a:pt x="10279884" y="697851"/>
                  <a:pt x="10182104" y="639832"/>
                  <a:pt x="10080018" y="614474"/>
                </a:cubicBezTo>
                <a:lnTo>
                  <a:pt x="9935705" y="578770"/>
                </a:lnTo>
                <a:cubicBezTo>
                  <a:pt x="9863548" y="560918"/>
                  <a:pt x="9831980" y="528257"/>
                  <a:pt x="9831980" y="480584"/>
                </a:cubicBezTo>
                <a:cubicBezTo>
                  <a:pt x="9831980" y="421145"/>
                  <a:pt x="9883022" y="385441"/>
                  <a:pt x="9959688" y="385441"/>
                </a:cubicBezTo>
                <a:cubicBezTo>
                  <a:pt x="10049884" y="385441"/>
                  <a:pt x="10105437" y="434534"/>
                  <a:pt x="10113022" y="528257"/>
                </a:cubicBezTo>
                <a:lnTo>
                  <a:pt x="10263280" y="483627"/>
                </a:lnTo>
                <a:cubicBezTo>
                  <a:pt x="10245036" y="379152"/>
                  <a:pt x="10141311" y="306324"/>
                  <a:pt x="9974653" y="306324"/>
                </a:cubicBezTo>
                <a:moveTo>
                  <a:pt x="10720000" y="997887"/>
                </a:moveTo>
                <a:cubicBezTo>
                  <a:pt x="10604180" y="997887"/>
                  <a:pt x="10539607" y="889355"/>
                  <a:pt x="10539607" y="692983"/>
                </a:cubicBezTo>
                <a:cubicBezTo>
                  <a:pt x="10539607" y="493568"/>
                  <a:pt x="10604180" y="388078"/>
                  <a:pt x="10720000" y="388078"/>
                </a:cubicBezTo>
                <a:cubicBezTo>
                  <a:pt x="10835819" y="388078"/>
                  <a:pt x="10900392" y="495191"/>
                  <a:pt x="10900392" y="692983"/>
                </a:cubicBezTo>
                <a:cubicBezTo>
                  <a:pt x="10900392" y="892398"/>
                  <a:pt x="10835614" y="997887"/>
                  <a:pt x="10720000" y="997887"/>
                </a:cubicBezTo>
                <a:moveTo>
                  <a:pt x="10720000" y="306324"/>
                </a:moveTo>
                <a:cubicBezTo>
                  <a:pt x="10484056" y="306324"/>
                  <a:pt x="10353271" y="480381"/>
                  <a:pt x="10353271" y="692983"/>
                </a:cubicBezTo>
                <a:cubicBezTo>
                  <a:pt x="10353271" y="905584"/>
                  <a:pt x="10484056" y="1079641"/>
                  <a:pt x="10720000" y="1079641"/>
                </a:cubicBezTo>
                <a:cubicBezTo>
                  <a:pt x="10955945" y="1079641"/>
                  <a:pt x="11086728" y="905584"/>
                  <a:pt x="11086728" y="692983"/>
                </a:cubicBezTo>
                <a:cubicBezTo>
                  <a:pt x="11086728" y="480381"/>
                  <a:pt x="10955945" y="306324"/>
                  <a:pt x="10720000" y="306324"/>
                </a:cubicBezTo>
                <a:moveTo>
                  <a:pt x="11585677" y="306324"/>
                </a:moveTo>
                <a:cubicBezTo>
                  <a:pt x="11474367" y="306324"/>
                  <a:pt x="11412869" y="353997"/>
                  <a:pt x="11378226" y="414856"/>
                </a:cubicBezTo>
                <a:lnTo>
                  <a:pt x="11369206" y="414856"/>
                </a:lnTo>
                <a:lnTo>
                  <a:pt x="11369206" y="321133"/>
                </a:lnTo>
                <a:lnTo>
                  <a:pt x="11191889" y="321133"/>
                </a:lnTo>
                <a:lnTo>
                  <a:pt x="11191889" y="1064832"/>
                </a:lnTo>
                <a:lnTo>
                  <a:pt x="11369206" y="1064832"/>
                </a:lnTo>
                <a:lnTo>
                  <a:pt x="11369206" y="584451"/>
                </a:lnTo>
                <a:cubicBezTo>
                  <a:pt x="11369206" y="474498"/>
                  <a:pt x="11426398" y="410393"/>
                  <a:pt x="11518030" y="410393"/>
                </a:cubicBezTo>
                <a:cubicBezTo>
                  <a:pt x="11606791" y="410393"/>
                  <a:pt x="11645739" y="468413"/>
                  <a:pt x="11645739" y="556253"/>
                </a:cubicBezTo>
                <a:lnTo>
                  <a:pt x="11645739" y="1064832"/>
                </a:lnTo>
                <a:lnTo>
                  <a:pt x="11823056" y="1064832"/>
                </a:lnTo>
                <a:lnTo>
                  <a:pt x="11823056" y="554630"/>
                </a:lnTo>
                <a:cubicBezTo>
                  <a:pt x="11823056" y="401467"/>
                  <a:pt x="11741880" y="306324"/>
                  <a:pt x="11585677" y="306324"/>
                </a:cubicBezTo>
                <a:moveTo>
                  <a:pt x="697379" y="23735"/>
                </a:moveTo>
                <a:lnTo>
                  <a:pt x="511042" y="23735"/>
                </a:lnTo>
                <a:lnTo>
                  <a:pt x="511042" y="792589"/>
                </a:lnTo>
                <a:cubicBezTo>
                  <a:pt x="511042" y="917553"/>
                  <a:pt x="462869" y="991801"/>
                  <a:pt x="348690" y="991801"/>
                </a:cubicBezTo>
                <a:cubicBezTo>
                  <a:pt x="235945" y="991801"/>
                  <a:pt x="186337" y="912887"/>
                  <a:pt x="186337" y="777577"/>
                </a:cubicBezTo>
                <a:lnTo>
                  <a:pt x="186337" y="634761"/>
                </a:lnTo>
                <a:lnTo>
                  <a:pt x="0" y="680811"/>
                </a:lnTo>
                <a:lnTo>
                  <a:pt x="0" y="744713"/>
                </a:lnTo>
                <a:cubicBezTo>
                  <a:pt x="0" y="939462"/>
                  <a:pt x="97781" y="1088364"/>
                  <a:pt x="348690" y="1088364"/>
                </a:cubicBezTo>
                <a:cubicBezTo>
                  <a:pt x="599598" y="1088364"/>
                  <a:pt x="697379" y="939665"/>
                  <a:pt x="697379" y="744713"/>
                </a:cubicBezTo>
                <a:lnTo>
                  <a:pt x="697379" y="23735"/>
                </a:lnTo>
                <a:moveTo>
                  <a:pt x="1818474" y="23735"/>
                </a:moveTo>
                <a:lnTo>
                  <a:pt x="1641157" y="23735"/>
                </a:lnTo>
                <a:lnTo>
                  <a:pt x="1641157" y="1064832"/>
                </a:lnTo>
                <a:lnTo>
                  <a:pt x="1818474" y="1064832"/>
                </a:lnTo>
                <a:lnTo>
                  <a:pt x="1818474" y="584451"/>
                </a:lnTo>
                <a:cubicBezTo>
                  <a:pt x="1818474" y="474498"/>
                  <a:pt x="1875667" y="410393"/>
                  <a:pt x="1967298" y="410393"/>
                </a:cubicBezTo>
                <a:cubicBezTo>
                  <a:pt x="2056059" y="410393"/>
                  <a:pt x="2095007" y="468413"/>
                  <a:pt x="2095007" y="556253"/>
                </a:cubicBezTo>
                <a:lnTo>
                  <a:pt x="2095007" y="1064832"/>
                </a:lnTo>
                <a:lnTo>
                  <a:pt x="2272324" y="1064832"/>
                </a:lnTo>
                <a:lnTo>
                  <a:pt x="2272324" y="554630"/>
                </a:lnTo>
                <a:cubicBezTo>
                  <a:pt x="2272324" y="401467"/>
                  <a:pt x="2191148" y="306324"/>
                  <a:pt x="2034945" y="306324"/>
                </a:cubicBezTo>
                <a:cubicBezTo>
                  <a:pt x="1923635" y="306324"/>
                  <a:pt x="1862138" y="353997"/>
                  <a:pt x="1827494" y="414856"/>
                </a:cubicBezTo>
                <a:lnTo>
                  <a:pt x="1818474" y="414856"/>
                </a:lnTo>
                <a:lnTo>
                  <a:pt x="1818474" y="23735"/>
                </a:lnTo>
                <a:moveTo>
                  <a:pt x="7222855" y="23735"/>
                </a:moveTo>
                <a:lnTo>
                  <a:pt x="7036518" y="23735"/>
                </a:lnTo>
                <a:lnTo>
                  <a:pt x="7036518" y="792589"/>
                </a:lnTo>
                <a:cubicBezTo>
                  <a:pt x="7036518" y="917553"/>
                  <a:pt x="6988346" y="991801"/>
                  <a:pt x="6874166" y="991801"/>
                </a:cubicBezTo>
                <a:cubicBezTo>
                  <a:pt x="6761421" y="991801"/>
                  <a:pt x="6711813" y="912887"/>
                  <a:pt x="6711813" y="777577"/>
                </a:cubicBezTo>
                <a:lnTo>
                  <a:pt x="6711813" y="634761"/>
                </a:lnTo>
                <a:lnTo>
                  <a:pt x="6525476" y="680811"/>
                </a:lnTo>
                <a:lnTo>
                  <a:pt x="6525476" y="744713"/>
                </a:lnTo>
                <a:cubicBezTo>
                  <a:pt x="6525476" y="939462"/>
                  <a:pt x="6623257" y="1088364"/>
                  <a:pt x="6874166" y="1088364"/>
                </a:cubicBezTo>
                <a:cubicBezTo>
                  <a:pt x="7125074" y="1088364"/>
                  <a:pt x="7222855" y="939665"/>
                  <a:pt x="7222855" y="744713"/>
                </a:cubicBezTo>
                <a:lnTo>
                  <a:pt x="7222855" y="23735"/>
                </a:lnTo>
                <a:moveTo>
                  <a:pt x="8343950" y="23735"/>
                </a:moveTo>
                <a:lnTo>
                  <a:pt x="8166633" y="23735"/>
                </a:lnTo>
                <a:lnTo>
                  <a:pt x="8166633" y="1064832"/>
                </a:lnTo>
                <a:lnTo>
                  <a:pt x="8343950" y="1064832"/>
                </a:lnTo>
                <a:lnTo>
                  <a:pt x="8343950" y="584451"/>
                </a:lnTo>
                <a:cubicBezTo>
                  <a:pt x="8343950" y="474498"/>
                  <a:pt x="8401143" y="410393"/>
                  <a:pt x="8492774" y="410393"/>
                </a:cubicBezTo>
                <a:cubicBezTo>
                  <a:pt x="8581535" y="410393"/>
                  <a:pt x="8620483" y="468413"/>
                  <a:pt x="8620483" y="556253"/>
                </a:cubicBezTo>
                <a:lnTo>
                  <a:pt x="8620483" y="1064832"/>
                </a:lnTo>
                <a:lnTo>
                  <a:pt x="8797800" y="1064832"/>
                </a:lnTo>
                <a:lnTo>
                  <a:pt x="8797800" y="554630"/>
                </a:lnTo>
                <a:cubicBezTo>
                  <a:pt x="8797800" y="401467"/>
                  <a:pt x="8716624" y="306324"/>
                  <a:pt x="8560421" y="306324"/>
                </a:cubicBezTo>
                <a:cubicBezTo>
                  <a:pt x="8449110" y="306324"/>
                  <a:pt x="8387613" y="353997"/>
                  <a:pt x="8352970" y="414856"/>
                </a:cubicBezTo>
                <a:lnTo>
                  <a:pt x="8343950" y="414856"/>
                </a:lnTo>
                <a:lnTo>
                  <a:pt x="8343950" y="23735"/>
                </a:lnTo>
                <a:moveTo>
                  <a:pt x="5882214" y="980035"/>
                </a:moveTo>
                <a:cubicBezTo>
                  <a:pt x="5737901" y="980035"/>
                  <a:pt x="5649345" y="863997"/>
                  <a:pt x="5649345" y="740656"/>
                </a:cubicBezTo>
                <a:cubicBezTo>
                  <a:pt x="5649345" y="663365"/>
                  <a:pt x="5683988" y="591957"/>
                  <a:pt x="5740976" y="551790"/>
                </a:cubicBezTo>
                <a:lnTo>
                  <a:pt x="6080646" y="919176"/>
                </a:lnTo>
                <a:cubicBezTo>
                  <a:pt x="6017508" y="956300"/>
                  <a:pt x="5946787" y="980035"/>
                  <a:pt x="5882214" y="980035"/>
                </a:cubicBezTo>
                <a:moveTo>
                  <a:pt x="6212865" y="797052"/>
                </a:moveTo>
                <a:lnTo>
                  <a:pt x="5918293" y="475716"/>
                </a:lnTo>
                <a:cubicBezTo>
                  <a:pt x="5970976" y="454821"/>
                  <a:pt x="6022018" y="447518"/>
                  <a:pt x="6064042" y="447518"/>
                </a:cubicBezTo>
                <a:cubicBezTo>
                  <a:pt x="6185806" y="447518"/>
                  <a:pt x="6260833" y="517506"/>
                  <a:pt x="6260833" y="638007"/>
                </a:cubicBezTo>
                <a:cubicBezTo>
                  <a:pt x="6261038" y="691563"/>
                  <a:pt x="6245869" y="746539"/>
                  <a:pt x="6212865" y="797052"/>
                </a:cubicBezTo>
                <a:moveTo>
                  <a:pt x="5877705" y="432708"/>
                </a:moveTo>
                <a:lnTo>
                  <a:pt x="5813132" y="361300"/>
                </a:lnTo>
                <a:cubicBezTo>
                  <a:pt x="5755940" y="298818"/>
                  <a:pt x="5739541" y="260071"/>
                  <a:pt x="5739541" y="214021"/>
                </a:cubicBezTo>
                <a:cubicBezTo>
                  <a:pt x="5739541" y="127804"/>
                  <a:pt x="5795093" y="78711"/>
                  <a:pt x="5882214" y="78711"/>
                </a:cubicBezTo>
                <a:cubicBezTo>
                  <a:pt x="5970976" y="78711"/>
                  <a:pt x="6023453" y="129224"/>
                  <a:pt x="6023453" y="221527"/>
                </a:cubicBezTo>
                <a:cubicBezTo>
                  <a:pt x="6023453" y="306324"/>
                  <a:pt x="5981430" y="386658"/>
                  <a:pt x="5877705" y="432708"/>
                </a:cubicBezTo>
                <a:moveTo>
                  <a:pt x="5886724" y="0"/>
                </a:moveTo>
                <a:cubicBezTo>
                  <a:pt x="5679273" y="0"/>
                  <a:pt x="5577188" y="114618"/>
                  <a:pt x="5577188" y="257231"/>
                </a:cubicBezTo>
                <a:cubicBezTo>
                  <a:pt x="5577188" y="334522"/>
                  <a:pt x="5610192" y="412016"/>
                  <a:pt x="5697518" y="505537"/>
                </a:cubicBezTo>
                <a:lnTo>
                  <a:pt x="5698952" y="508580"/>
                </a:lnTo>
                <a:cubicBezTo>
                  <a:pt x="5551769" y="578568"/>
                  <a:pt x="5484122" y="691563"/>
                  <a:pt x="5484122" y="807601"/>
                </a:cubicBezTo>
                <a:cubicBezTo>
                  <a:pt x="5484122" y="960763"/>
                  <a:pt x="5602812" y="1088770"/>
                  <a:pt x="5786279" y="1088770"/>
                </a:cubicBezTo>
                <a:cubicBezTo>
                  <a:pt x="5891439" y="1088770"/>
                  <a:pt x="6014639" y="1045560"/>
                  <a:pt x="6125949" y="968269"/>
                </a:cubicBezTo>
                <a:lnTo>
                  <a:pt x="6216145" y="1065035"/>
                </a:lnTo>
                <a:lnTo>
                  <a:pt x="6452089" y="1065035"/>
                </a:lnTo>
                <a:lnTo>
                  <a:pt x="6452089" y="1057529"/>
                </a:lnTo>
                <a:lnTo>
                  <a:pt x="6259808" y="847768"/>
                </a:lnTo>
                <a:cubicBezTo>
                  <a:pt x="6340984" y="752625"/>
                  <a:pt x="6387517" y="648556"/>
                  <a:pt x="6387517" y="557673"/>
                </a:cubicBezTo>
                <a:cubicBezTo>
                  <a:pt x="6387517" y="444677"/>
                  <a:pt x="6310850" y="368806"/>
                  <a:pt x="6190726" y="368806"/>
                </a:cubicBezTo>
                <a:cubicBezTo>
                  <a:pt x="6127588" y="368806"/>
                  <a:pt x="6056867" y="386658"/>
                  <a:pt x="6010334" y="404510"/>
                </a:cubicBezTo>
                <a:lnTo>
                  <a:pt x="6007259" y="398627"/>
                </a:lnTo>
                <a:cubicBezTo>
                  <a:pt x="6121439" y="337565"/>
                  <a:pt x="6169612" y="281169"/>
                  <a:pt x="6169612" y="202255"/>
                </a:cubicBezTo>
                <a:cubicBezTo>
                  <a:pt x="6169202" y="89260"/>
                  <a:pt x="6067117" y="0"/>
                  <a:pt x="5886724" y="0"/>
                </a:cubicBezTo>
              </a:path>
            </a:pathLst>
          </a:custGeom>
          <a:solidFill>
            <a:schemeClr val="bg1"/>
          </a:solidFill>
          <a:ln w="20487"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55528083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349775" y="315360"/>
            <a:ext cx="5600860" cy="392416"/>
          </a:xfrm>
        </p:spPr>
        <p:txBody>
          <a:bodyPr>
            <a:spAutoFit/>
          </a:bodyPr>
          <a:lstStyle>
            <a:lvl1pPr>
              <a:defRPr sz="3000" b="0" i="0">
                <a:solidFill>
                  <a:schemeClr val="bg1"/>
                </a:solidFill>
                <a:latin typeface="+mj-lt"/>
              </a:defRPr>
            </a:lvl1pPr>
          </a:lstStyle>
          <a:p>
            <a:r>
              <a:rPr lang="en-US"/>
              <a:t>Click to edit Master title style</a:t>
            </a:r>
            <a:endParaRPr lang="en-US" dirty="0"/>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7399022" y="288248"/>
            <a:ext cx="3354704" cy="860616"/>
          </a:xfrm>
        </p:spPr>
        <p:txBody>
          <a:bodyPr anchor="t"/>
          <a:lstStyle>
            <a:lvl1pPr marL="0" indent="0" algn="l">
              <a:spcBef>
                <a:spcPts val="0"/>
              </a:spcBef>
              <a:spcAft>
                <a:spcPts val="0"/>
              </a:spcAft>
              <a:buNone/>
              <a:defRPr sz="1680">
                <a:solidFill>
                  <a:schemeClr val="bg1"/>
                </a:solidFill>
              </a:defRPr>
            </a:lvl1pPr>
            <a:lvl2pPr marL="548618" indent="0" algn="ctr">
              <a:buNone/>
              <a:defRPr sz="240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GB"/>
              <a:t>Supporting details – delete if not required</a:t>
            </a:r>
          </a:p>
        </p:txBody>
      </p:sp>
      <p:sp>
        <p:nvSpPr>
          <p:cNvPr id="32" name="Text Placeholder 31">
            <a:extLst>
              <a:ext uri="{FF2B5EF4-FFF2-40B4-BE49-F238E27FC236}">
                <a16:creationId xmlns:a16="http://schemas.microsoft.com/office/drawing/2014/main" id="{BE8CDE24-BE6D-421C-9ED6-9443D70EB983}"/>
              </a:ext>
            </a:extLst>
          </p:cNvPr>
          <p:cNvSpPr>
            <a:spLocks noGrp="1"/>
          </p:cNvSpPr>
          <p:nvPr>
            <p:ph type="body" sz="quarter" idx="10" hasCustomPrompt="1"/>
          </p:nvPr>
        </p:nvSpPr>
        <p:spPr>
          <a:xfrm>
            <a:off x="10925176" y="288248"/>
            <a:ext cx="3354704" cy="860616"/>
          </a:xfrm>
        </p:spPr>
        <p:txBody>
          <a:bodyPr anchor="t"/>
          <a:lstStyle>
            <a:lvl1pPr>
              <a:spcBef>
                <a:spcPts val="0"/>
              </a:spcBef>
              <a:spcAft>
                <a:spcPts val="0"/>
              </a:spcAft>
              <a:defRPr sz="1680">
                <a:solidFill>
                  <a:schemeClr val="bg1"/>
                </a:solidFill>
              </a:defRPr>
            </a:lvl1pPr>
          </a:lstStyle>
          <a:p>
            <a:r>
              <a:rPr lang="en-GB" dirty="0"/>
              <a:t>Supporting details – delete if not required</a:t>
            </a:r>
          </a:p>
        </p:txBody>
      </p:sp>
      <p:sp>
        <p:nvSpPr>
          <p:cNvPr id="8" name="Graphic 6">
            <a:extLst>
              <a:ext uri="{FF2B5EF4-FFF2-40B4-BE49-F238E27FC236}">
                <a16:creationId xmlns:a16="http://schemas.microsoft.com/office/drawing/2014/main" id="{ACC64B1C-0B76-B49C-E8DA-EBD2AFAFA613}"/>
              </a:ext>
            </a:extLst>
          </p:cNvPr>
          <p:cNvSpPr>
            <a:spLocks noChangeAspect="1"/>
          </p:cNvSpPr>
          <p:nvPr/>
        </p:nvSpPr>
        <p:spPr>
          <a:xfrm>
            <a:off x="344808" y="2723322"/>
            <a:ext cx="13930105" cy="5198129"/>
          </a:xfrm>
          <a:custGeom>
            <a:avLst/>
            <a:gdLst>
              <a:gd name="connsiteX0" fmla="*/ 9940695 w 12886034"/>
              <a:gd name="connsiteY0" fmla="*/ 2142364 h 4808525"/>
              <a:gd name="connsiteX1" fmla="*/ 9940695 w 12886034"/>
              <a:gd name="connsiteY1" fmla="*/ 1153823 h 4808525"/>
              <a:gd name="connsiteX2" fmla="*/ 10243112 w 12886034"/>
              <a:gd name="connsiteY2" fmla="*/ 795655 h 4808525"/>
              <a:gd name="connsiteX3" fmla="*/ 10502975 w 12886034"/>
              <a:gd name="connsiteY3" fmla="*/ 1095467 h 4808525"/>
              <a:gd name="connsiteX4" fmla="*/ 10502975 w 12886034"/>
              <a:gd name="connsiteY4" fmla="*/ 2142364 h 4808525"/>
              <a:gd name="connsiteX5" fmla="*/ 10863643 w 12886034"/>
              <a:gd name="connsiteY5" fmla="*/ 2142364 h 4808525"/>
              <a:gd name="connsiteX6" fmla="*/ 10863643 w 12886034"/>
              <a:gd name="connsiteY6" fmla="*/ 1092672 h 4808525"/>
              <a:gd name="connsiteX7" fmla="*/ 10380892 w 12886034"/>
              <a:gd name="connsiteY7" fmla="*/ 581454 h 4808525"/>
              <a:gd name="connsiteX8" fmla="*/ 9959182 w 12886034"/>
              <a:gd name="connsiteY8" fmla="*/ 804741 h 4808525"/>
              <a:gd name="connsiteX9" fmla="*/ 9940695 w 12886034"/>
              <a:gd name="connsiteY9" fmla="*/ 804741 h 4808525"/>
              <a:gd name="connsiteX10" fmla="*/ 9940695 w 12886034"/>
              <a:gd name="connsiteY10" fmla="*/ 611854 h 4808525"/>
              <a:gd name="connsiteX11" fmla="*/ 9580028 w 12886034"/>
              <a:gd name="connsiteY11" fmla="*/ 611854 h 4808525"/>
              <a:gd name="connsiteX12" fmla="*/ 9580028 w 12886034"/>
              <a:gd name="connsiteY12" fmla="*/ 2142015 h 4808525"/>
              <a:gd name="connsiteX13" fmla="*/ 9940695 w 12886034"/>
              <a:gd name="connsiteY13" fmla="*/ 2142015 h 4808525"/>
              <a:gd name="connsiteX14" fmla="*/ 8620803 w 12886034"/>
              <a:gd name="connsiteY14" fmla="*/ 2004688 h 4808525"/>
              <a:gd name="connsiteX15" fmla="*/ 8254206 w 12886034"/>
              <a:gd name="connsiteY15" fmla="*/ 1377109 h 4808525"/>
              <a:gd name="connsiteX16" fmla="*/ 8620803 w 12886034"/>
              <a:gd name="connsiteY16" fmla="*/ 749530 h 4808525"/>
              <a:gd name="connsiteX17" fmla="*/ 8987401 w 12886034"/>
              <a:gd name="connsiteY17" fmla="*/ 1377109 h 4808525"/>
              <a:gd name="connsiteX18" fmla="*/ 8620803 w 12886034"/>
              <a:gd name="connsiteY18" fmla="*/ 2004688 h 4808525"/>
              <a:gd name="connsiteX19" fmla="*/ 8620803 w 12886034"/>
              <a:gd name="connsiteY19" fmla="*/ 2173114 h 4808525"/>
              <a:gd name="connsiteX20" fmla="*/ 9366208 w 12886034"/>
              <a:gd name="connsiteY20" fmla="*/ 1377459 h 4808525"/>
              <a:gd name="connsiteX21" fmla="*/ 8620803 w 12886034"/>
              <a:gd name="connsiteY21" fmla="*/ 581803 h 4808525"/>
              <a:gd name="connsiteX22" fmla="*/ 7875400 w 12886034"/>
              <a:gd name="connsiteY22" fmla="*/ 1377459 h 4808525"/>
              <a:gd name="connsiteX23" fmla="*/ 8620803 w 12886034"/>
              <a:gd name="connsiteY23" fmla="*/ 2173114 h 4808525"/>
              <a:gd name="connsiteX24" fmla="*/ 7090232 w 12886034"/>
              <a:gd name="connsiteY24" fmla="*/ 2173114 h 4808525"/>
              <a:gd name="connsiteX25" fmla="*/ 7725761 w 12886034"/>
              <a:gd name="connsiteY25" fmla="*/ 1674126 h 4808525"/>
              <a:gd name="connsiteX26" fmla="*/ 7319399 w 12886034"/>
              <a:gd name="connsiteY26" fmla="*/ 1214973 h 4808525"/>
              <a:gd name="connsiteX27" fmla="*/ 7026051 w 12886034"/>
              <a:gd name="connsiteY27" fmla="*/ 1141592 h 4808525"/>
              <a:gd name="connsiteX28" fmla="*/ 6815371 w 12886034"/>
              <a:gd name="connsiteY28" fmla="*/ 939621 h 4808525"/>
              <a:gd name="connsiteX29" fmla="*/ 7074884 w 12886034"/>
              <a:gd name="connsiteY29" fmla="*/ 743590 h 4808525"/>
              <a:gd name="connsiteX30" fmla="*/ 7386370 w 12886034"/>
              <a:gd name="connsiteY30" fmla="*/ 1037462 h 4808525"/>
              <a:gd name="connsiteX31" fmla="*/ 7691926 w 12886034"/>
              <a:gd name="connsiteY31" fmla="*/ 945561 h 4808525"/>
              <a:gd name="connsiteX32" fmla="*/ 7105231 w 12886034"/>
              <a:gd name="connsiteY32" fmla="*/ 581454 h 4808525"/>
              <a:gd name="connsiteX33" fmla="*/ 6521674 w 12886034"/>
              <a:gd name="connsiteY33" fmla="*/ 1022087 h 4808525"/>
              <a:gd name="connsiteX34" fmla="*/ 6891411 w 12886034"/>
              <a:gd name="connsiteY34" fmla="*/ 1462720 h 4808525"/>
              <a:gd name="connsiteX35" fmla="*/ 7196967 w 12886034"/>
              <a:gd name="connsiteY35" fmla="*/ 1539245 h 4808525"/>
              <a:gd name="connsiteX36" fmla="*/ 7432064 w 12886034"/>
              <a:gd name="connsiteY36" fmla="*/ 1765677 h 4808525"/>
              <a:gd name="connsiteX37" fmla="*/ 7129647 w 12886034"/>
              <a:gd name="connsiteY37" fmla="*/ 2010628 h 4808525"/>
              <a:gd name="connsiteX38" fmla="*/ 6781536 w 12886034"/>
              <a:gd name="connsiteY38" fmla="*/ 1655606 h 4808525"/>
              <a:gd name="connsiteX39" fmla="*/ 6457842 w 12886034"/>
              <a:gd name="connsiteY39" fmla="*/ 1747506 h 4808525"/>
              <a:gd name="connsiteX40" fmla="*/ 7090232 w 12886034"/>
              <a:gd name="connsiteY40" fmla="*/ 2173114 h 4808525"/>
              <a:gd name="connsiteX41" fmla="*/ 5363978 w 12886034"/>
              <a:gd name="connsiteY41" fmla="*/ 2142364 h 4808525"/>
              <a:gd name="connsiteX42" fmla="*/ 5363978 w 12886034"/>
              <a:gd name="connsiteY42" fmla="*/ 1153823 h 4808525"/>
              <a:gd name="connsiteX43" fmla="*/ 5666395 w 12886034"/>
              <a:gd name="connsiteY43" fmla="*/ 795655 h 4808525"/>
              <a:gd name="connsiteX44" fmla="*/ 5926258 w 12886034"/>
              <a:gd name="connsiteY44" fmla="*/ 1095467 h 4808525"/>
              <a:gd name="connsiteX45" fmla="*/ 5926258 w 12886034"/>
              <a:gd name="connsiteY45" fmla="*/ 2142364 h 4808525"/>
              <a:gd name="connsiteX46" fmla="*/ 6286926 w 12886034"/>
              <a:gd name="connsiteY46" fmla="*/ 2142364 h 4808525"/>
              <a:gd name="connsiteX47" fmla="*/ 6286926 w 12886034"/>
              <a:gd name="connsiteY47" fmla="*/ 1092672 h 4808525"/>
              <a:gd name="connsiteX48" fmla="*/ 5804175 w 12886034"/>
              <a:gd name="connsiteY48" fmla="*/ 581454 h 4808525"/>
              <a:gd name="connsiteX49" fmla="*/ 5382465 w 12886034"/>
              <a:gd name="connsiteY49" fmla="*/ 804741 h 4808525"/>
              <a:gd name="connsiteX50" fmla="*/ 5363978 w 12886034"/>
              <a:gd name="connsiteY50" fmla="*/ 804741 h 4808525"/>
              <a:gd name="connsiteX51" fmla="*/ 5363978 w 12886034"/>
              <a:gd name="connsiteY51" fmla="*/ 611854 h 4808525"/>
              <a:gd name="connsiteX52" fmla="*/ 5003310 w 12886034"/>
              <a:gd name="connsiteY52" fmla="*/ 611854 h 4808525"/>
              <a:gd name="connsiteX53" fmla="*/ 5003310 w 12886034"/>
              <a:gd name="connsiteY53" fmla="*/ 2142015 h 4808525"/>
              <a:gd name="connsiteX54" fmla="*/ 5363978 w 12886034"/>
              <a:gd name="connsiteY54" fmla="*/ 2142015 h 4808525"/>
              <a:gd name="connsiteX55" fmla="*/ 3790851 w 12886034"/>
              <a:gd name="connsiteY55" fmla="*/ 2142364 h 4808525"/>
              <a:gd name="connsiteX56" fmla="*/ 3790851 w 12886034"/>
              <a:gd name="connsiteY56" fmla="*/ 1153823 h 4808525"/>
              <a:gd name="connsiteX57" fmla="*/ 4093268 w 12886034"/>
              <a:gd name="connsiteY57" fmla="*/ 795655 h 4808525"/>
              <a:gd name="connsiteX58" fmla="*/ 4352782 w 12886034"/>
              <a:gd name="connsiteY58" fmla="*/ 1095467 h 4808525"/>
              <a:gd name="connsiteX59" fmla="*/ 4352782 w 12886034"/>
              <a:gd name="connsiteY59" fmla="*/ 2142364 h 4808525"/>
              <a:gd name="connsiteX60" fmla="*/ 4713450 w 12886034"/>
              <a:gd name="connsiteY60" fmla="*/ 2142364 h 4808525"/>
              <a:gd name="connsiteX61" fmla="*/ 4713450 w 12886034"/>
              <a:gd name="connsiteY61" fmla="*/ 1092672 h 4808525"/>
              <a:gd name="connsiteX62" fmla="*/ 4230699 w 12886034"/>
              <a:gd name="connsiteY62" fmla="*/ 581454 h 4808525"/>
              <a:gd name="connsiteX63" fmla="*/ 3808990 w 12886034"/>
              <a:gd name="connsiteY63" fmla="*/ 804741 h 4808525"/>
              <a:gd name="connsiteX64" fmla="*/ 3790503 w 12886034"/>
              <a:gd name="connsiteY64" fmla="*/ 804741 h 4808525"/>
              <a:gd name="connsiteX65" fmla="*/ 3790503 w 12886034"/>
              <a:gd name="connsiteY65" fmla="*/ 0 h 4808525"/>
              <a:gd name="connsiteX66" fmla="*/ 3429835 w 12886034"/>
              <a:gd name="connsiteY66" fmla="*/ 0 h 4808525"/>
              <a:gd name="connsiteX67" fmla="*/ 3429835 w 12886034"/>
              <a:gd name="connsiteY67" fmla="*/ 2142364 h 4808525"/>
              <a:gd name="connsiteX68" fmla="*/ 3790851 w 12886034"/>
              <a:gd name="connsiteY68" fmla="*/ 2142364 h 4808525"/>
              <a:gd name="connsiteX69" fmla="*/ 2470960 w 12886034"/>
              <a:gd name="connsiteY69" fmla="*/ 2004688 h 4808525"/>
              <a:gd name="connsiteX70" fmla="*/ 2104362 w 12886034"/>
              <a:gd name="connsiteY70" fmla="*/ 1377109 h 4808525"/>
              <a:gd name="connsiteX71" fmla="*/ 2470960 w 12886034"/>
              <a:gd name="connsiteY71" fmla="*/ 749530 h 4808525"/>
              <a:gd name="connsiteX72" fmla="*/ 2837558 w 12886034"/>
              <a:gd name="connsiteY72" fmla="*/ 1377109 h 4808525"/>
              <a:gd name="connsiteX73" fmla="*/ 2470960 w 12886034"/>
              <a:gd name="connsiteY73" fmla="*/ 2004688 h 4808525"/>
              <a:gd name="connsiteX74" fmla="*/ 2470960 w 12886034"/>
              <a:gd name="connsiteY74" fmla="*/ 2173114 h 4808525"/>
              <a:gd name="connsiteX75" fmla="*/ 3216364 w 12886034"/>
              <a:gd name="connsiteY75" fmla="*/ 1377459 h 4808525"/>
              <a:gd name="connsiteX76" fmla="*/ 2470960 w 12886034"/>
              <a:gd name="connsiteY76" fmla="*/ 581803 h 4808525"/>
              <a:gd name="connsiteX77" fmla="*/ 1725556 w 12886034"/>
              <a:gd name="connsiteY77" fmla="*/ 1377459 h 4808525"/>
              <a:gd name="connsiteX78" fmla="*/ 2470960 w 12886034"/>
              <a:gd name="connsiteY78" fmla="*/ 2173114 h 4808525"/>
              <a:gd name="connsiteX79" fmla="*/ 802957 w 12886034"/>
              <a:gd name="connsiteY79" fmla="*/ 2191284 h 4808525"/>
              <a:gd name="connsiteX80" fmla="*/ 1511736 w 12886034"/>
              <a:gd name="connsiteY80" fmla="*/ 1484385 h 4808525"/>
              <a:gd name="connsiteX81" fmla="*/ 1511736 w 12886034"/>
              <a:gd name="connsiteY81" fmla="*/ 0 h 4808525"/>
              <a:gd name="connsiteX82" fmla="*/ 1132930 w 12886034"/>
              <a:gd name="connsiteY82" fmla="*/ 0 h 4808525"/>
              <a:gd name="connsiteX83" fmla="*/ 1132930 w 12886034"/>
              <a:gd name="connsiteY83" fmla="*/ 1582225 h 4808525"/>
              <a:gd name="connsiteX84" fmla="*/ 802957 w 12886034"/>
              <a:gd name="connsiteY84" fmla="*/ 1992458 h 4808525"/>
              <a:gd name="connsiteX85" fmla="*/ 472984 w 12886034"/>
              <a:gd name="connsiteY85" fmla="*/ 1551825 h 4808525"/>
              <a:gd name="connsiteX86" fmla="*/ 472984 w 12886034"/>
              <a:gd name="connsiteY86" fmla="*/ 1257953 h 4808525"/>
              <a:gd name="connsiteX87" fmla="*/ 94178 w 12886034"/>
              <a:gd name="connsiteY87" fmla="*/ 1352649 h 4808525"/>
              <a:gd name="connsiteX88" fmla="*/ 94178 w 12886034"/>
              <a:gd name="connsiteY88" fmla="*/ 1484385 h 4808525"/>
              <a:gd name="connsiteX89" fmla="*/ 802957 w 12886034"/>
              <a:gd name="connsiteY89" fmla="*/ 2191284 h 4808525"/>
              <a:gd name="connsiteX90" fmla="*/ 11963087 w 12886034"/>
              <a:gd name="connsiteY90" fmla="*/ 4759256 h 4808525"/>
              <a:gd name="connsiteX91" fmla="*/ 11963087 w 12886034"/>
              <a:gd name="connsiteY91" fmla="*/ 3770714 h 4808525"/>
              <a:gd name="connsiteX92" fmla="*/ 12265504 w 12886034"/>
              <a:gd name="connsiteY92" fmla="*/ 3412547 h 4808525"/>
              <a:gd name="connsiteX93" fmla="*/ 12525366 w 12886034"/>
              <a:gd name="connsiteY93" fmla="*/ 3712359 h 4808525"/>
              <a:gd name="connsiteX94" fmla="*/ 12525366 w 12886034"/>
              <a:gd name="connsiteY94" fmla="*/ 4759256 h 4808525"/>
              <a:gd name="connsiteX95" fmla="*/ 12886035 w 12886034"/>
              <a:gd name="connsiteY95" fmla="*/ 4759256 h 4808525"/>
              <a:gd name="connsiteX96" fmla="*/ 12886035 w 12886034"/>
              <a:gd name="connsiteY96" fmla="*/ 3709564 h 4808525"/>
              <a:gd name="connsiteX97" fmla="*/ 12403283 w 12886034"/>
              <a:gd name="connsiteY97" fmla="*/ 3198346 h 4808525"/>
              <a:gd name="connsiteX98" fmla="*/ 11981574 w 12886034"/>
              <a:gd name="connsiteY98" fmla="*/ 3421632 h 4808525"/>
              <a:gd name="connsiteX99" fmla="*/ 11963436 w 12886034"/>
              <a:gd name="connsiteY99" fmla="*/ 3421632 h 4808525"/>
              <a:gd name="connsiteX100" fmla="*/ 11963436 w 12886034"/>
              <a:gd name="connsiteY100" fmla="*/ 3228746 h 4808525"/>
              <a:gd name="connsiteX101" fmla="*/ 11602768 w 12886034"/>
              <a:gd name="connsiteY101" fmla="*/ 3228746 h 4808525"/>
              <a:gd name="connsiteX102" fmla="*/ 11602768 w 12886034"/>
              <a:gd name="connsiteY102" fmla="*/ 4758906 h 4808525"/>
              <a:gd name="connsiteX103" fmla="*/ 11963087 w 12886034"/>
              <a:gd name="connsiteY103" fmla="*/ 4758906 h 4808525"/>
              <a:gd name="connsiteX104" fmla="*/ 10643544 w 12886034"/>
              <a:gd name="connsiteY104" fmla="*/ 4621580 h 4808525"/>
              <a:gd name="connsiteX105" fmla="*/ 10276946 w 12886034"/>
              <a:gd name="connsiteY105" fmla="*/ 3994001 h 4808525"/>
              <a:gd name="connsiteX106" fmla="*/ 10643544 w 12886034"/>
              <a:gd name="connsiteY106" fmla="*/ 3366422 h 4808525"/>
              <a:gd name="connsiteX107" fmla="*/ 11010143 w 12886034"/>
              <a:gd name="connsiteY107" fmla="*/ 3994001 h 4808525"/>
              <a:gd name="connsiteX108" fmla="*/ 10643544 w 12886034"/>
              <a:gd name="connsiteY108" fmla="*/ 4621580 h 4808525"/>
              <a:gd name="connsiteX109" fmla="*/ 10643544 w 12886034"/>
              <a:gd name="connsiteY109" fmla="*/ 4790006 h 4808525"/>
              <a:gd name="connsiteX110" fmla="*/ 11388948 w 12886034"/>
              <a:gd name="connsiteY110" fmla="*/ 3994350 h 4808525"/>
              <a:gd name="connsiteX111" fmla="*/ 10643544 w 12886034"/>
              <a:gd name="connsiteY111" fmla="*/ 3198695 h 4808525"/>
              <a:gd name="connsiteX112" fmla="*/ 9898141 w 12886034"/>
              <a:gd name="connsiteY112" fmla="*/ 3994350 h 4808525"/>
              <a:gd name="connsiteX113" fmla="*/ 10643544 w 12886034"/>
              <a:gd name="connsiteY113" fmla="*/ 4790006 h 4808525"/>
              <a:gd name="connsiteX114" fmla="*/ 9112972 w 12886034"/>
              <a:gd name="connsiteY114" fmla="*/ 4790006 h 4808525"/>
              <a:gd name="connsiteX115" fmla="*/ 9748502 w 12886034"/>
              <a:gd name="connsiteY115" fmla="*/ 4291018 h 4808525"/>
              <a:gd name="connsiteX116" fmla="*/ 9342140 w 12886034"/>
              <a:gd name="connsiteY116" fmla="*/ 3831865 h 4808525"/>
              <a:gd name="connsiteX117" fmla="*/ 9048792 w 12886034"/>
              <a:gd name="connsiteY117" fmla="*/ 3758484 h 4808525"/>
              <a:gd name="connsiteX118" fmla="*/ 8838111 w 12886034"/>
              <a:gd name="connsiteY118" fmla="*/ 3556513 h 4808525"/>
              <a:gd name="connsiteX119" fmla="*/ 9097974 w 12886034"/>
              <a:gd name="connsiteY119" fmla="*/ 3360482 h 4808525"/>
              <a:gd name="connsiteX120" fmla="*/ 9409460 w 12886034"/>
              <a:gd name="connsiteY120" fmla="*/ 3654354 h 4808525"/>
              <a:gd name="connsiteX121" fmla="*/ 9715016 w 12886034"/>
              <a:gd name="connsiteY121" fmla="*/ 3562453 h 4808525"/>
              <a:gd name="connsiteX122" fmla="*/ 9128320 w 12886034"/>
              <a:gd name="connsiteY122" fmla="*/ 3198346 h 4808525"/>
              <a:gd name="connsiteX123" fmla="*/ 8544763 w 12886034"/>
              <a:gd name="connsiteY123" fmla="*/ 3638978 h 4808525"/>
              <a:gd name="connsiteX124" fmla="*/ 8914500 w 12886034"/>
              <a:gd name="connsiteY124" fmla="*/ 4079611 h 4808525"/>
              <a:gd name="connsiteX125" fmla="*/ 9220057 w 12886034"/>
              <a:gd name="connsiteY125" fmla="*/ 4156137 h 4808525"/>
              <a:gd name="connsiteX126" fmla="*/ 9455153 w 12886034"/>
              <a:gd name="connsiteY126" fmla="*/ 4382569 h 4808525"/>
              <a:gd name="connsiteX127" fmla="*/ 9152737 w 12886034"/>
              <a:gd name="connsiteY127" fmla="*/ 4627520 h 4808525"/>
              <a:gd name="connsiteX128" fmla="*/ 8804626 w 12886034"/>
              <a:gd name="connsiteY128" fmla="*/ 4272498 h 4808525"/>
              <a:gd name="connsiteX129" fmla="*/ 8480931 w 12886034"/>
              <a:gd name="connsiteY129" fmla="*/ 4364399 h 4808525"/>
              <a:gd name="connsiteX130" fmla="*/ 9112972 w 12886034"/>
              <a:gd name="connsiteY130" fmla="*/ 4790006 h 4808525"/>
              <a:gd name="connsiteX131" fmla="*/ 7386719 w 12886034"/>
              <a:gd name="connsiteY131" fmla="*/ 4759256 h 4808525"/>
              <a:gd name="connsiteX132" fmla="*/ 7386719 w 12886034"/>
              <a:gd name="connsiteY132" fmla="*/ 3770714 h 4808525"/>
              <a:gd name="connsiteX133" fmla="*/ 7689136 w 12886034"/>
              <a:gd name="connsiteY133" fmla="*/ 3412547 h 4808525"/>
              <a:gd name="connsiteX134" fmla="*/ 7948649 w 12886034"/>
              <a:gd name="connsiteY134" fmla="*/ 3712359 h 4808525"/>
              <a:gd name="connsiteX135" fmla="*/ 7948649 w 12886034"/>
              <a:gd name="connsiteY135" fmla="*/ 4759256 h 4808525"/>
              <a:gd name="connsiteX136" fmla="*/ 8309318 w 12886034"/>
              <a:gd name="connsiteY136" fmla="*/ 4759256 h 4808525"/>
              <a:gd name="connsiteX137" fmla="*/ 8309318 w 12886034"/>
              <a:gd name="connsiteY137" fmla="*/ 3709564 h 4808525"/>
              <a:gd name="connsiteX138" fmla="*/ 7826566 w 12886034"/>
              <a:gd name="connsiteY138" fmla="*/ 3198346 h 4808525"/>
              <a:gd name="connsiteX139" fmla="*/ 7404857 w 12886034"/>
              <a:gd name="connsiteY139" fmla="*/ 3421632 h 4808525"/>
              <a:gd name="connsiteX140" fmla="*/ 7386370 w 12886034"/>
              <a:gd name="connsiteY140" fmla="*/ 3421632 h 4808525"/>
              <a:gd name="connsiteX141" fmla="*/ 7386370 w 12886034"/>
              <a:gd name="connsiteY141" fmla="*/ 3228746 h 4808525"/>
              <a:gd name="connsiteX142" fmla="*/ 7025702 w 12886034"/>
              <a:gd name="connsiteY142" fmla="*/ 3228746 h 4808525"/>
              <a:gd name="connsiteX143" fmla="*/ 7025702 w 12886034"/>
              <a:gd name="connsiteY143" fmla="*/ 4758906 h 4808525"/>
              <a:gd name="connsiteX144" fmla="*/ 7386719 w 12886034"/>
              <a:gd name="connsiteY144" fmla="*/ 4758906 h 4808525"/>
              <a:gd name="connsiteX145" fmla="*/ 5813593 w 12886034"/>
              <a:gd name="connsiteY145" fmla="*/ 4759256 h 4808525"/>
              <a:gd name="connsiteX146" fmla="*/ 5813593 w 12886034"/>
              <a:gd name="connsiteY146" fmla="*/ 3770714 h 4808525"/>
              <a:gd name="connsiteX147" fmla="*/ 6116010 w 12886034"/>
              <a:gd name="connsiteY147" fmla="*/ 3412547 h 4808525"/>
              <a:gd name="connsiteX148" fmla="*/ 6375523 w 12886034"/>
              <a:gd name="connsiteY148" fmla="*/ 3712359 h 4808525"/>
              <a:gd name="connsiteX149" fmla="*/ 6375523 w 12886034"/>
              <a:gd name="connsiteY149" fmla="*/ 4759256 h 4808525"/>
              <a:gd name="connsiteX150" fmla="*/ 6736191 w 12886034"/>
              <a:gd name="connsiteY150" fmla="*/ 4759256 h 4808525"/>
              <a:gd name="connsiteX151" fmla="*/ 6736191 w 12886034"/>
              <a:gd name="connsiteY151" fmla="*/ 3709564 h 4808525"/>
              <a:gd name="connsiteX152" fmla="*/ 6253440 w 12886034"/>
              <a:gd name="connsiteY152" fmla="*/ 3198346 h 4808525"/>
              <a:gd name="connsiteX153" fmla="*/ 5831730 w 12886034"/>
              <a:gd name="connsiteY153" fmla="*/ 3421632 h 4808525"/>
              <a:gd name="connsiteX154" fmla="*/ 5813243 w 12886034"/>
              <a:gd name="connsiteY154" fmla="*/ 3421632 h 4808525"/>
              <a:gd name="connsiteX155" fmla="*/ 5813243 w 12886034"/>
              <a:gd name="connsiteY155" fmla="*/ 2616892 h 4808525"/>
              <a:gd name="connsiteX156" fmla="*/ 5452576 w 12886034"/>
              <a:gd name="connsiteY156" fmla="*/ 2616892 h 4808525"/>
              <a:gd name="connsiteX157" fmla="*/ 5452576 w 12886034"/>
              <a:gd name="connsiteY157" fmla="*/ 4759256 h 4808525"/>
              <a:gd name="connsiteX158" fmla="*/ 5813593 w 12886034"/>
              <a:gd name="connsiteY158" fmla="*/ 4759256 h 4808525"/>
              <a:gd name="connsiteX159" fmla="*/ 4493701 w 12886034"/>
              <a:gd name="connsiteY159" fmla="*/ 4621580 h 4808525"/>
              <a:gd name="connsiteX160" fmla="*/ 4127103 w 12886034"/>
              <a:gd name="connsiteY160" fmla="*/ 3994001 h 4808525"/>
              <a:gd name="connsiteX161" fmla="*/ 4493701 w 12886034"/>
              <a:gd name="connsiteY161" fmla="*/ 3366422 h 4808525"/>
              <a:gd name="connsiteX162" fmla="*/ 4860299 w 12886034"/>
              <a:gd name="connsiteY162" fmla="*/ 3994001 h 4808525"/>
              <a:gd name="connsiteX163" fmla="*/ 4493701 w 12886034"/>
              <a:gd name="connsiteY163" fmla="*/ 4621580 h 4808525"/>
              <a:gd name="connsiteX164" fmla="*/ 4493701 w 12886034"/>
              <a:gd name="connsiteY164" fmla="*/ 4790006 h 4808525"/>
              <a:gd name="connsiteX165" fmla="*/ 5239105 w 12886034"/>
              <a:gd name="connsiteY165" fmla="*/ 3994350 h 4808525"/>
              <a:gd name="connsiteX166" fmla="*/ 4493701 w 12886034"/>
              <a:gd name="connsiteY166" fmla="*/ 3198695 h 4808525"/>
              <a:gd name="connsiteX167" fmla="*/ 3748297 w 12886034"/>
              <a:gd name="connsiteY167" fmla="*/ 3994350 h 4808525"/>
              <a:gd name="connsiteX168" fmla="*/ 4493701 w 12886034"/>
              <a:gd name="connsiteY168" fmla="*/ 4790006 h 4808525"/>
              <a:gd name="connsiteX169" fmla="*/ 2825698 w 12886034"/>
              <a:gd name="connsiteY169" fmla="*/ 4808176 h 4808525"/>
              <a:gd name="connsiteX170" fmla="*/ 3534477 w 12886034"/>
              <a:gd name="connsiteY170" fmla="*/ 4101276 h 4808525"/>
              <a:gd name="connsiteX171" fmla="*/ 3534477 w 12886034"/>
              <a:gd name="connsiteY171" fmla="*/ 2616892 h 4808525"/>
              <a:gd name="connsiteX172" fmla="*/ 3155671 w 12886034"/>
              <a:gd name="connsiteY172" fmla="*/ 2616892 h 4808525"/>
              <a:gd name="connsiteX173" fmla="*/ 3155671 w 12886034"/>
              <a:gd name="connsiteY173" fmla="*/ 4199117 h 4808525"/>
              <a:gd name="connsiteX174" fmla="*/ 2825698 w 12886034"/>
              <a:gd name="connsiteY174" fmla="*/ 4609350 h 4808525"/>
              <a:gd name="connsiteX175" fmla="*/ 2495725 w 12886034"/>
              <a:gd name="connsiteY175" fmla="*/ 4168717 h 4808525"/>
              <a:gd name="connsiteX176" fmla="*/ 2495725 w 12886034"/>
              <a:gd name="connsiteY176" fmla="*/ 3874845 h 4808525"/>
              <a:gd name="connsiteX177" fmla="*/ 2116919 w 12886034"/>
              <a:gd name="connsiteY177" fmla="*/ 3969890 h 4808525"/>
              <a:gd name="connsiteX178" fmla="*/ 2116919 w 12886034"/>
              <a:gd name="connsiteY178" fmla="*/ 4101626 h 4808525"/>
              <a:gd name="connsiteX179" fmla="*/ 2825698 w 12886034"/>
              <a:gd name="connsiteY179" fmla="*/ 4808176 h 4808525"/>
              <a:gd name="connsiteX180" fmla="*/ 809585 w 12886034"/>
              <a:gd name="connsiteY180" fmla="*/ 4584890 h 4808525"/>
              <a:gd name="connsiteX181" fmla="*/ 335903 w 12886034"/>
              <a:gd name="connsiteY181" fmla="*/ 4092191 h 4808525"/>
              <a:gd name="connsiteX182" fmla="*/ 522166 w 12886034"/>
              <a:gd name="connsiteY182" fmla="*/ 3703623 h 4808525"/>
              <a:gd name="connsiteX183" fmla="*/ 1212807 w 12886034"/>
              <a:gd name="connsiteY183" fmla="*/ 4459444 h 4808525"/>
              <a:gd name="connsiteX184" fmla="*/ 809585 w 12886034"/>
              <a:gd name="connsiteY184" fmla="*/ 4584890 h 4808525"/>
              <a:gd name="connsiteX185" fmla="*/ 1178973 w 12886034"/>
              <a:gd name="connsiteY185" fmla="*/ 3489073 h 4808525"/>
              <a:gd name="connsiteX186" fmla="*/ 1579056 w 12886034"/>
              <a:gd name="connsiteY186" fmla="*/ 3880785 h 4808525"/>
              <a:gd name="connsiteX187" fmla="*/ 1481390 w 12886034"/>
              <a:gd name="connsiteY187" fmla="*/ 4208202 h 4808525"/>
              <a:gd name="connsiteX188" fmla="*/ 882834 w 12886034"/>
              <a:gd name="connsiteY188" fmla="*/ 3547078 h 4808525"/>
              <a:gd name="connsiteX189" fmla="*/ 1178973 w 12886034"/>
              <a:gd name="connsiteY189" fmla="*/ 3489073 h 4808525"/>
              <a:gd name="connsiteX190" fmla="*/ 809585 w 12886034"/>
              <a:gd name="connsiteY190" fmla="*/ 2730108 h 4808525"/>
              <a:gd name="connsiteX191" fmla="*/ 1096654 w 12886034"/>
              <a:gd name="connsiteY191" fmla="*/ 3023979 h 4808525"/>
              <a:gd name="connsiteX192" fmla="*/ 800167 w 12886034"/>
              <a:gd name="connsiteY192" fmla="*/ 3458672 h 4808525"/>
              <a:gd name="connsiteX193" fmla="*/ 668666 w 12886034"/>
              <a:gd name="connsiteY193" fmla="*/ 3311911 h 4808525"/>
              <a:gd name="connsiteX194" fmla="*/ 519027 w 12886034"/>
              <a:gd name="connsiteY194" fmla="*/ 3008954 h 4808525"/>
              <a:gd name="connsiteX195" fmla="*/ 809585 w 12886034"/>
              <a:gd name="connsiteY195" fmla="*/ 2730108 h 4808525"/>
              <a:gd name="connsiteX196" fmla="*/ 1576266 w 12886034"/>
              <a:gd name="connsiteY196" fmla="*/ 4312333 h 4808525"/>
              <a:gd name="connsiteX197" fmla="*/ 1835779 w 12886034"/>
              <a:gd name="connsiteY197" fmla="*/ 3715504 h 4808525"/>
              <a:gd name="connsiteX198" fmla="*/ 1435696 w 12886034"/>
              <a:gd name="connsiteY198" fmla="*/ 3326937 h 4808525"/>
              <a:gd name="connsiteX199" fmla="*/ 1069098 w 12886034"/>
              <a:gd name="connsiteY199" fmla="*/ 3400317 h 4808525"/>
              <a:gd name="connsiteX200" fmla="*/ 1062820 w 12886034"/>
              <a:gd name="connsiteY200" fmla="*/ 3388087 h 4808525"/>
              <a:gd name="connsiteX201" fmla="*/ 1392793 w 12886034"/>
              <a:gd name="connsiteY201" fmla="*/ 2984144 h 4808525"/>
              <a:gd name="connsiteX202" fmla="*/ 818305 w 12886034"/>
              <a:gd name="connsiteY202" fmla="*/ 2567971 h 4808525"/>
              <a:gd name="connsiteX203" fmla="*/ 189054 w 12886034"/>
              <a:gd name="connsiteY203" fmla="*/ 3097360 h 4808525"/>
              <a:gd name="connsiteX204" fmla="*/ 433569 w 12886034"/>
              <a:gd name="connsiteY204" fmla="*/ 3608578 h 4808525"/>
              <a:gd name="connsiteX205" fmla="*/ 436708 w 12886034"/>
              <a:gd name="connsiteY205" fmla="*/ 3614868 h 4808525"/>
              <a:gd name="connsiteX206" fmla="*/ 0 w 12886034"/>
              <a:gd name="connsiteY206" fmla="*/ 4230217 h 4808525"/>
              <a:gd name="connsiteX207" fmla="*/ 613903 w 12886034"/>
              <a:gd name="connsiteY207" fmla="*/ 4808526 h 4808525"/>
              <a:gd name="connsiteX208" fmla="*/ 1304544 w 12886034"/>
              <a:gd name="connsiteY208" fmla="*/ 4560779 h 4808525"/>
              <a:gd name="connsiteX209" fmla="*/ 1488017 w 12886034"/>
              <a:gd name="connsiteY209" fmla="*/ 4759605 h 4808525"/>
              <a:gd name="connsiteX210" fmla="*/ 1967629 w 12886034"/>
              <a:gd name="connsiteY210" fmla="*/ 4759605 h 4808525"/>
              <a:gd name="connsiteX211" fmla="*/ 1967629 w 12886034"/>
              <a:gd name="connsiteY211" fmla="*/ 4744230 h 4808525"/>
              <a:gd name="connsiteX212" fmla="*/ 1576266 w 12886034"/>
              <a:gd name="connsiteY212" fmla="*/ 4312333 h 480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2886034" h="4808525">
                <a:moveTo>
                  <a:pt x="9940695" y="2142364"/>
                </a:moveTo>
                <a:lnTo>
                  <a:pt x="9940695" y="1153823"/>
                </a:lnTo>
                <a:cubicBezTo>
                  <a:pt x="9940695" y="927391"/>
                  <a:pt x="10056848" y="795655"/>
                  <a:pt x="10243112" y="795655"/>
                </a:cubicBezTo>
                <a:cubicBezTo>
                  <a:pt x="10423446" y="795655"/>
                  <a:pt x="10502975" y="915161"/>
                  <a:pt x="10502975" y="1095467"/>
                </a:cubicBezTo>
                <a:lnTo>
                  <a:pt x="10502975" y="2142364"/>
                </a:lnTo>
                <a:lnTo>
                  <a:pt x="10863643" y="2142364"/>
                </a:lnTo>
                <a:lnTo>
                  <a:pt x="10863643" y="1092672"/>
                </a:lnTo>
                <a:cubicBezTo>
                  <a:pt x="10863643" y="777485"/>
                  <a:pt x="10698656" y="581454"/>
                  <a:pt x="10380892" y="581454"/>
                </a:cubicBezTo>
                <a:cubicBezTo>
                  <a:pt x="10154863" y="581454"/>
                  <a:pt x="10029641" y="679295"/>
                  <a:pt x="9959182" y="804741"/>
                </a:cubicBezTo>
                <a:lnTo>
                  <a:pt x="9940695" y="804741"/>
                </a:lnTo>
                <a:lnTo>
                  <a:pt x="9940695" y="611854"/>
                </a:lnTo>
                <a:lnTo>
                  <a:pt x="9580028" y="611854"/>
                </a:lnTo>
                <a:lnTo>
                  <a:pt x="9580028" y="2142015"/>
                </a:lnTo>
                <a:lnTo>
                  <a:pt x="9940695" y="2142015"/>
                </a:lnTo>
                <a:close/>
                <a:moveTo>
                  <a:pt x="8620803" y="2004688"/>
                </a:moveTo>
                <a:cubicBezTo>
                  <a:pt x="8385707" y="2004688"/>
                  <a:pt x="8254206" y="1781401"/>
                  <a:pt x="8254206" y="1377109"/>
                </a:cubicBezTo>
                <a:cubicBezTo>
                  <a:pt x="8254206" y="966877"/>
                  <a:pt x="8385707" y="749530"/>
                  <a:pt x="8620803" y="749530"/>
                </a:cubicBezTo>
                <a:cubicBezTo>
                  <a:pt x="8855901" y="749530"/>
                  <a:pt x="8987401" y="970022"/>
                  <a:pt x="8987401" y="1377109"/>
                </a:cubicBezTo>
                <a:cubicBezTo>
                  <a:pt x="8987401" y="1787342"/>
                  <a:pt x="8855901" y="2004688"/>
                  <a:pt x="8620803" y="2004688"/>
                </a:cubicBezTo>
                <a:moveTo>
                  <a:pt x="8620803" y="2173114"/>
                </a:moveTo>
                <a:cubicBezTo>
                  <a:pt x="9100416" y="2173114"/>
                  <a:pt x="9366208" y="1814947"/>
                  <a:pt x="9366208" y="1377459"/>
                </a:cubicBezTo>
                <a:cubicBezTo>
                  <a:pt x="9366208" y="939970"/>
                  <a:pt x="9100416" y="581803"/>
                  <a:pt x="8620803" y="581803"/>
                </a:cubicBezTo>
                <a:cubicBezTo>
                  <a:pt x="8141192" y="581803"/>
                  <a:pt x="7875400" y="939970"/>
                  <a:pt x="7875400" y="1377459"/>
                </a:cubicBezTo>
                <a:cubicBezTo>
                  <a:pt x="7875400" y="1814947"/>
                  <a:pt x="8141192" y="2173114"/>
                  <a:pt x="8620803" y="2173114"/>
                </a:cubicBezTo>
                <a:moveTo>
                  <a:pt x="7090232" y="2173114"/>
                </a:moveTo>
                <a:cubicBezTo>
                  <a:pt x="7502524" y="2173114"/>
                  <a:pt x="7725761" y="1980228"/>
                  <a:pt x="7725761" y="1674126"/>
                </a:cubicBezTo>
                <a:cubicBezTo>
                  <a:pt x="7725761" y="1386544"/>
                  <a:pt x="7527289" y="1267038"/>
                  <a:pt x="7319399" y="1214973"/>
                </a:cubicBezTo>
                <a:lnTo>
                  <a:pt x="7026051" y="1141592"/>
                </a:lnTo>
                <a:cubicBezTo>
                  <a:pt x="6879551" y="1104902"/>
                  <a:pt x="6815371" y="1037462"/>
                  <a:pt x="6815371" y="939621"/>
                </a:cubicBezTo>
                <a:cubicBezTo>
                  <a:pt x="6815371" y="817320"/>
                  <a:pt x="6919316" y="743590"/>
                  <a:pt x="7074884" y="743590"/>
                </a:cubicBezTo>
                <a:cubicBezTo>
                  <a:pt x="7258358" y="743590"/>
                  <a:pt x="7371372" y="844576"/>
                  <a:pt x="7386370" y="1037462"/>
                </a:cubicBezTo>
                <a:lnTo>
                  <a:pt x="7691926" y="945561"/>
                </a:lnTo>
                <a:cubicBezTo>
                  <a:pt x="7655302" y="731360"/>
                  <a:pt x="7444621" y="581454"/>
                  <a:pt x="7105231" y="581454"/>
                </a:cubicBezTo>
                <a:cubicBezTo>
                  <a:pt x="6772118" y="581454"/>
                  <a:pt x="6521674" y="722275"/>
                  <a:pt x="6521674" y="1022087"/>
                </a:cubicBezTo>
                <a:cubicBezTo>
                  <a:pt x="6521674" y="1276124"/>
                  <a:pt x="6695729" y="1413799"/>
                  <a:pt x="6891411" y="1462720"/>
                </a:cubicBezTo>
                <a:lnTo>
                  <a:pt x="7196967" y="1539245"/>
                </a:lnTo>
                <a:cubicBezTo>
                  <a:pt x="7358815" y="1579080"/>
                  <a:pt x="7432064" y="1637086"/>
                  <a:pt x="7432064" y="1765677"/>
                </a:cubicBezTo>
                <a:cubicBezTo>
                  <a:pt x="7432064" y="1921873"/>
                  <a:pt x="7322190" y="2010628"/>
                  <a:pt x="7129647" y="2010628"/>
                </a:cubicBezTo>
                <a:cubicBezTo>
                  <a:pt x="6921757" y="2010628"/>
                  <a:pt x="6815022" y="1909643"/>
                  <a:pt x="6781536" y="1655606"/>
                </a:cubicBezTo>
                <a:lnTo>
                  <a:pt x="6457842" y="1747506"/>
                </a:lnTo>
                <a:cubicBezTo>
                  <a:pt x="6475980" y="2010628"/>
                  <a:pt x="6720495" y="2173114"/>
                  <a:pt x="7090232" y="2173114"/>
                </a:cubicBezTo>
                <a:moveTo>
                  <a:pt x="5363978" y="2142364"/>
                </a:moveTo>
                <a:lnTo>
                  <a:pt x="5363978" y="1153823"/>
                </a:lnTo>
                <a:cubicBezTo>
                  <a:pt x="5363978" y="927391"/>
                  <a:pt x="5480132" y="795655"/>
                  <a:pt x="5666395" y="795655"/>
                </a:cubicBezTo>
                <a:cubicBezTo>
                  <a:pt x="5846729" y="795655"/>
                  <a:pt x="5926258" y="915161"/>
                  <a:pt x="5926258" y="1095467"/>
                </a:cubicBezTo>
                <a:lnTo>
                  <a:pt x="5926258" y="2142364"/>
                </a:lnTo>
                <a:lnTo>
                  <a:pt x="6286926" y="2142364"/>
                </a:lnTo>
                <a:lnTo>
                  <a:pt x="6286926" y="1092672"/>
                </a:lnTo>
                <a:cubicBezTo>
                  <a:pt x="6286926" y="777485"/>
                  <a:pt x="6121939" y="581454"/>
                  <a:pt x="5804175" y="581454"/>
                </a:cubicBezTo>
                <a:cubicBezTo>
                  <a:pt x="5578147" y="581454"/>
                  <a:pt x="5452925" y="679295"/>
                  <a:pt x="5382465" y="804741"/>
                </a:cubicBezTo>
                <a:lnTo>
                  <a:pt x="5363978" y="804741"/>
                </a:lnTo>
                <a:lnTo>
                  <a:pt x="5363978" y="611854"/>
                </a:lnTo>
                <a:lnTo>
                  <a:pt x="5003310" y="611854"/>
                </a:lnTo>
                <a:lnTo>
                  <a:pt x="5003310" y="2142015"/>
                </a:lnTo>
                <a:lnTo>
                  <a:pt x="5363978" y="2142015"/>
                </a:lnTo>
                <a:close/>
                <a:moveTo>
                  <a:pt x="3790851" y="2142364"/>
                </a:moveTo>
                <a:lnTo>
                  <a:pt x="3790851" y="1153823"/>
                </a:lnTo>
                <a:cubicBezTo>
                  <a:pt x="3790851" y="927391"/>
                  <a:pt x="3907005" y="795655"/>
                  <a:pt x="4093268" y="795655"/>
                </a:cubicBezTo>
                <a:cubicBezTo>
                  <a:pt x="4273603" y="795655"/>
                  <a:pt x="4352782" y="915161"/>
                  <a:pt x="4352782" y="1095467"/>
                </a:cubicBezTo>
                <a:lnTo>
                  <a:pt x="4352782" y="2142364"/>
                </a:lnTo>
                <a:lnTo>
                  <a:pt x="4713450" y="2142364"/>
                </a:lnTo>
                <a:lnTo>
                  <a:pt x="4713450" y="1092672"/>
                </a:lnTo>
                <a:cubicBezTo>
                  <a:pt x="4713450" y="777485"/>
                  <a:pt x="4548464" y="581454"/>
                  <a:pt x="4230699" y="581454"/>
                </a:cubicBezTo>
                <a:cubicBezTo>
                  <a:pt x="4004671" y="581454"/>
                  <a:pt x="3879449" y="679295"/>
                  <a:pt x="3808990" y="804741"/>
                </a:cubicBezTo>
                <a:lnTo>
                  <a:pt x="3790503" y="804741"/>
                </a:lnTo>
                <a:lnTo>
                  <a:pt x="3790503" y="0"/>
                </a:lnTo>
                <a:lnTo>
                  <a:pt x="3429835" y="0"/>
                </a:lnTo>
                <a:lnTo>
                  <a:pt x="3429835" y="2142364"/>
                </a:lnTo>
                <a:lnTo>
                  <a:pt x="3790851" y="2142364"/>
                </a:lnTo>
                <a:close/>
                <a:moveTo>
                  <a:pt x="2470960" y="2004688"/>
                </a:moveTo>
                <a:cubicBezTo>
                  <a:pt x="2235514" y="2004688"/>
                  <a:pt x="2104362" y="1781401"/>
                  <a:pt x="2104362" y="1377109"/>
                </a:cubicBezTo>
                <a:cubicBezTo>
                  <a:pt x="2104362" y="966877"/>
                  <a:pt x="2235863" y="749530"/>
                  <a:pt x="2470960" y="749530"/>
                </a:cubicBezTo>
                <a:cubicBezTo>
                  <a:pt x="2706057" y="749530"/>
                  <a:pt x="2837558" y="970022"/>
                  <a:pt x="2837558" y="1377109"/>
                </a:cubicBezTo>
                <a:cubicBezTo>
                  <a:pt x="2837906" y="1787342"/>
                  <a:pt x="2706406" y="2004688"/>
                  <a:pt x="2470960" y="2004688"/>
                </a:cubicBezTo>
                <a:moveTo>
                  <a:pt x="2470960" y="2173114"/>
                </a:moveTo>
                <a:cubicBezTo>
                  <a:pt x="2950572" y="2173114"/>
                  <a:pt x="3216364" y="1814947"/>
                  <a:pt x="3216364" y="1377459"/>
                </a:cubicBezTo>
                <a:cubicBezTo>
                  <a:pt x="3216364" y="939970"/>
                  <a:pt x="2950572" y="581803"/>
                  <a:pt x="2470960" y="581803"/>
                </a:cubicBezTo>
                <a:cubicBezTo>
                  <a:pt x="1991348" y="581803"/>
                  <a:pt x="1725556" y="939970"/>
                  <a:pt x="1725556" y="1377459"/>
                </a:cubicBezTo>
                <a:cubicBezTo>
                  <a:pt x="1725556" y="1814947"/>
                  <a:pt x="1991348" y="2173114"/>
                  <a:pt x="2470960" y="2173114"/>
                </a:cubicBezTo>
                <a:moveTo>
                  <a:pt x="802957" y="2191284"/>
                </a:moveTo>
                <a:cubicBezTo>
                  <a:pt x="1313264" y="2191284"/>
                  <a:pt x="1511736" y="1885182"/>
                  <a:pt x="1511736" y="1484385"/>
                </a:cubicBezTo>
                <a:lnTo>
                  <a:pt x="1511736" y="0"/>
                </a:lnTo>
                <a:lnTo>
                  <a:pt x="1132930" y="0"/>
                </a:lnTo>
                <a:lnTo>
                  <a:pt x="1132930" y="1582225"/>
                </a:lnTo>
                <a:cubicBezTo>
                  <a:pt x="1132930" y="1839407"/>
                  <a:pt x="1035264" y="1992458"/>
                  <a:pt x="802957" y="1992458"/>
                </a:cubicBezTo>
                <a:cubicBezTo>
                  <a:pt x="573790" y="1992458"/>
                  <a:pt x="472984" y="1830322"/>
                  <a:pt x="472984" y="1551825"/>
                </a:cubicBezTo>
                <a:lnTo>
                  <a:pt x="472984" y="1257953"/>
                </a:lnTo>
                <a:lnTo>
                  <a:pt x="94178" y="1352649"/>
                </a:lnTo>
                <a:lnTo>
                  <a:pt x="94178" y="1484385"/>
                </a:lnTo>
                <a:cubicBezTo>
                  <a:pt x="94178" y="1885182"/>
                  <a:pt x="292999" y="2191284"/>
                  <a:pt x="802957" y="2191284"/>
                </a:cubicBezTo>
                <a:moveTo>
                  <a:pt x="11963087" y="4759256"/>
                </a:moveTo>
                <a:lnTo>
                  <a:pt x="11963087" y="3770714"/>
                </a:lnTo>
                <a:cubicBezTo>
                  <a:pt x="11963087" y="3544283"/>
                  <a:pt x="12079241" y="3412547"/>
                  <a:pt x="12265504" y="3412547"/>
                </a:cubicBezTo>
                <a:cubicBezTo>
                  <a:pt x="12445838" y="3412547"/>
                  <a:pt x="12525366" y="3532053"/>
                  <a:pt x="12525366" y="3712359"/>
                </a:cubicBezTo>
                <a:lnTo>
                  <a:pt x="12525366" y="4759256"/>
                </a:lnTo>
                <a:lnTo>
                  <a:pt x="12886035" y="4759256"/>
                </a:lnTo>
                <a:lnTo>
                  <a:pt x="12886035" y="3709564"/>
                </a:lnTo>
                <a:cubicBezTo>
                  <a:pt x="12886035" y="3394377"/>
                  <a:pt x="12721048" y="3198346"/>
                  <a:pt x="12403283" y="3198346"/>
                </a:cubicBezTo>
                <a:cubicBezTo>
                  <a:pt x="12177256" y="3198346"/>
                  <a:pt x="12052034" y="3296186"/>
                  <a:pt x="11981574" y="3421632"/>
                </a:cubicBezTo>
                <a:lnTo>
                  <a:pt x="11963436" y="3421632"/>
                </a:lnTo>
                <a:lnTo>
                  <a:pt x="11963436" y="3228746"/>
                </a:lnTo>
                <a:lnTo>
                  <a:pt x="11602768" y="3228746"/>
                </a:lnTo>
                <a:lnTo>
                  <a:pt x="11602768" y="4758906"/>
                </a:lnTo>
                <a:lnTo>
                  <a:pt x="11963087" y="4758906"/>
                </a:lnTo>
                <a:close/>
                <a:moveTo>
                  <a:pt x="10643544" y="4621580"/>
                </a:moveTo>
                <a:cubicBezTo>
                  <a:pt x="10408448" y="4621580"/>
                  <a:pt x="10276946" y="4398293"/>
                  <a:pt x="10276946" y="3994001"/>
                </a:cubicBezTo>
                <a:cubicBezTo>
                  <a:pt x="10276946" y="3583769"/>
                  <a:pt x="10408448" y="3366422"/>
                  <a:pt x="10643544" y="3366422"/>
                </a:cubicBezTo>
                <a:cubicBezTo>
                  <a:pt x="10878641" y="3366422"/>
                  <a:pt x="11010143" y="3586913"/>
                  <a:pt x="11010143" y="3994001"/>
                </a:cubicBezTo>
                <a:cubicBezTo>
                  <a:pt x="11010143" y="4404234"/>
                  <a:pt x="10878641" y="4621580"/>
                  <a:pt x="10643544" y="4621580"/>
                </a:cubicBezTo>
                <a:moveTo>
                  <a:pt x="10643544" y="4790006"/>
                </a:moveTo>
                <a:cubicBezTo>
                  <a:pt x="11123156" y="4790006"/>
                  <a:pt x="11388948" y="4431839"/>
                  <a:pt x="11388948" y="3994350"/>
                </a:cubicBezTo>
                <a:cubicBezTo>
                  <a:pt x="11388948" y="3556513"/>
                  <a:pt x="11123156" y="3198695"/>
                  <a:pt x="10643544" y="3198695"/>
                </a:cubicBezTo>
                <a:cubicBezTo>
                  <a:pt x="10163933" y="3198695"/>
                  <a:pt x="9898141" y="3556862"/>
                  <a:pt x="9898141" y="3994350"/>
                </a:cubicBezTo>
                <a:cubicBezTo>
                  <a:pt x="9898141" y="4431839"/>
                  <a:pt x="10163933" y="4790006"/>
                  <a:pt x="10643544" y="4790006"/>
                </a:cubicBezTo>
                <a:moveTo>
                  <a:pt x="9112972" y="4790006"/>
                </a:moveTo>
                <a:cubicBezTo>
                  <a:pt x="9525264" y="4790006"/>
                  <a:pt x="9748502" y="4597119"/>
                  <a:pt x="9748502" y="4291018"/>
                </a:cubicBezTo>
                <a:cubicBezTo>
                  <a:pt x="9748502" y="4003435"/>
                  <a:pt x="9550029" y="3883930"/>
                  <a:pt x="9342140" y="3831865"/>
                </a:cubicBezTo>
                <a:lnTo>
                  <a:pt x="9048792" y="3758484"/>
                </a:lnTo>
                <a:cubicBezTo>
                  <a:pt x="8902292" y="3721794"/>
                  <a:pt x="8838111" y="3654354"/>
                  <a:pt x="8838111" y="3556513"/>
                </a:cubicBezTo>
                <a:cubicBezTo>
                  <a:pt x="8838111" y="3434212"/>
                  <a:pt x="8942056" y="3360482"/>
                  <a:pt x="9097974" y="3360482"/>
                </a:cubicBezTo>
                <a:cubicBezTo>
                  <a:pt x="9281446" y="3360482"/>
                  <a:pt x="9394461" y="3461468"/>
                  <a:pt x="9409460" y="3654354"/>
                </a:cubicBezTo>
                <a:lnTo>
                  <a:pt x="9715016" y="3562453"/>
                </a:lnTo>
                <a:cubicBezTo>
                  <a:pt x="9678391" y="3348252"/>
                  <a:pt x="9467711" y="3198346"/>
                  <a:pt x="9128320" y="3198346"/>
                </a:cubicBezTo>
                <a:cubicBezTo>
                  <a:pt x="8795208" y="3198346"/>
                  <a:pt x="8544763" y="3339167"/>
                  <a:pt x="8544763" y="3638978"/>
                </a:cubicBezTo>
                <a:cubicBezTo>
                  <a:pt x="8544763" y="3893015"/>
                  <a:pt x="8718819" y="4030691"/>
                  <a:pt x="8914500" y="4079611"/>
                </a:cubicBezTo>
                <a:lnTo>
                  <a:pt x="9220057" y="4156137"/>
                </a:lnTo>
                <a:cubicBezTo>
                  <a:pt x="9381903" y="4195972"/>
                  <a:pt x="9455153" y="4253978"/>
                  <a:pt x="9455153" y="4382569"/>
                </a:cubicBezTo>
                <a:cubicBezTo>
                  <a:pt x="9455153" y="4538764"/>
                  <a:pt x="9345279" y="4627520"/>
                  <a:pt x="9152737" y="4627520"/>
                </a:cubicBezTo>
                <a:cubicBezTo>
                  <a:pt x="8944846" y="4627520"/>
                  <a:pt x="8838111" y="4526535"/>
                  <a:pt x="8804626" y="4272498"/>
                </a:cubicBezTo>
                <a:lnTo>
                  <a:pt x="8480931" y="4364399"/>
                </a:lnTo>
                <a:cubicBezTo>
                  <a:pt x="8498720" y="4627520"/>
                  <a:pt x="8743235" y="4790006"/>
                  <a:pt x="9112972" y="4790006"/>
                </a:cubicBezTo>
                <a:moveTo>
                  <a:pt x="7386719" y="4759256"/>
                </a:moveTo>
                <a:lnTo>
                  <a:pt x="7386719" y="3770714"/>
                </a:lnTo>
                <a:cubicBezTo>
                  <a:pt x="7386719" y="3544283"/>
                  <a:pt x="7502872" y="3412547"/>
                  <a:pt x="7689136" y="3412547"/>
                </a:cubicBezTo>
                <a:cubicBezTo>
                  <a:pt x="7869470" y="3412547"/>
                  <a:pt x="7948649" y="3532053"/>
                  <a:pt x="7948649" y="3712359"/>
                </a:cubicBezTo>
                <a:lnTo>
                  <a:pt x="7948649" y="4759256"/>
                </a:lnTo>
                <a:lnTo>
                  <a:pt x="8309318" y="4759256"/>
                </a:lnTo>
                <a:lnTo>
                  <a:pt x="8309318" y="3709564"/>
                </a:lnTo>
                <a:cubicBezTo>
                  <a:pt x="8309318" y="3394377"/>
                  <a:pt x="8144331" y="3198346"/>
                  <a:pt x="7826566" y="3198346"/>
                </a:cubicBezTo>
                <a:cubicBezTo>
                  <a:pt x="7600539" y="3198346"/>
                  <a:pt x="7475317" y="3296186"/>
                  <a:pt x="7404857" y="3421632"/>
                </a:cubicBezTo>
                <a:lnTo>
                  <a:pt x="7386370" y="3421632"/>
                </a:lnTo>
                <a:lnTo>
                  <a:pt x="7386370" y="3228746"/>
                </a:lnTo>
                <a:lnTo>
                  <a:pt x="7025702" y="3228746"/>
                </a:lnTo>
                <a:lnTo>
                  <a:pt x="7025702" y="4758906"/>
                </a:lnTo>
                <a:lnTo>
                  <a:pt x="7386719" y="4758906"/>
                </a:lnTo>
                <a:close/>
                <a:moveTo>
                  <a:pt x="5813593" y="4759256"/>
                </a:moveTo>
                <a:lnTo>
                  <a:pt x="5813593" y="3770714"/>
                </a:lnTo>
                <a:cubicBezTo>
                  <a:pt x="5813593" y="3544283"/>
                  <a:pt x="5929746" y="3412547"/>
                  <a:pt x="6116010" y="3412547"/>
                </a:cubicBezTo>
                <a:cubicBezTo>
                  <a:pt x="6296343" y="3412547"/>
                  <a:pt x="6375523" y="3532053"/>
                  <a:pt x="6375523" y="3712359"/>
                </a:cubicBezTo>
                <a:lnTo>
                  <a:pt x="6375523" y="4759256"/>
                </a:lnTo>
                <a:lnTo>
                  <a:pt x="6736191" y="4759256"/>
                </a:lnTo>
                <a:lnTo>
                  <a:pt x="6736191" y="3709564"/>
                </a:lnTo>
                <a:cubicBezTo>
                  <a:pt x="6736191" y="3394377"/>
                  <a:pt x="6571205" y="3198346"/>
                  <a:pt x="6253440" y="3198346"/>
                </a:cubicBezTo>
                <a:cubicBezTo>
                  <a:pt x="6027412" y="3198346"/>
                  <a:pt x="5902190" y="3296186"/>
                  <a:pt x="5831730" y="3421632"/>
                </a:cubicBezTo>
                <a:lnTo>
                  <a:pt x="5813243" y="3421632"/>
                </a:lnTo>
                <a:lnTo>
                  <a:pt x="5813243" y="2616892"/>
                </a:lnTo>
                <a:lnTo>
                  <a:pt x="5452576" y="2616892"/>
                </a:lnTo>
                <a:lnTo>
                  <a:pt x="5452576" y="4759256"/>
                </a:lnTo>
                <a:lnTo>
                  <a:pt x="5813593" y="4759256"/>
                </a:lnTo>
                <a:close/>
                <a:moveTo>
                  <a:pt x="4493701" y="4621580"/>
                </a:moveTo>
                <a:cubicBezTo>
                  <a:pt x="4258604" y="4621580"/>
                  <a:pt x="4127103" y="4398293"/>
                  <a:pt x="4127103" y="3994001"/>
                </a:cubicBezTo>
                <a:cubicBezTo>
                  <a:pt x="4127103" y="3583769"/>
                  <a:pt x="4258604" y="3366422"/>
                  <a:pt x="4493701" y="3366422"/>
                </a:cubicBezTo>
                <a:cubicBezTo>
                  <a:pt x="4728798" y="3366422"/>
                  <a:pt x="4860299" y="3586913"/>
                  <a:pt x="4860299" y="3994001"/>
                </a:cubicBezTo>
                <a:cubicBezTo>
                  <a:pt x="4860299" y="4404234"/>
                  <a:pt x="4729147" y="4621580"/>
                  <a:pt x="4493701" y="4621580"/>
                </a:cubicBezTo>
                <a:moveTo>
                  <a:pt x="4493701" y="4790006"/>
                </a:moveTo>
                <a:cubicBezTo>
                  <a:pt x="4973313" y="4790006"/>
                  <a:pt x="5239105" y="4431839"/>
                  <a:pt x="5239105" y="3994350"/>
                </a:cubicBezTo>
                <a:cubicBezTo>
                  <a:pt x="5239105" y="3556513"/>
                  <a:pt x="4973313" y="3198695"/>
                  <a:pt x="4493701" y="3198695"/>
                </a:cubicBezTo>
                <a:cubicBezTo>
                  <a:pt x="4014089" y="3198695"/>
                  <a:pt x="3748297" y="3556862"/>
                  <a:pt x="3748297" y="3994350"/>
                </a:cubicBezTo>
                <a:cubicBezTo>
                  <a:pt x="3748297" y="4431839"/>
                  <a:pt x="4014089" y="4790006"/>
                  <a:pt x="4493701" y="4790006"/>
                </a:cubicBezTo>
                <a:moveTo>
                  <a:pt x="2825698" y="4808176"/>
                </a:moveTo>
                <a:cubicBezTo>
                  <a:pt x="3336005" y="4808176"/>
                  <a:pt x="3534477" y="4502074"/>
                  <a:pt x="3534477" y="4101276"/>
                </a:cubicBezTo>
                <a:lnTo>
                  <a:pt x="3534477" y="2616892"/>
                </a:lnTo>
                <a:lnTo>
                  <a:pt x="3155671" y="2616892"/>
                </a:lnTo>
                <a:lnTo>
                  <a:pt x="3155671" y="4199117"/>
                </a:lnTo>
                <a:cubicBezTo>
                  <a:pt x="3155671" y="4456299"/>
                  <a:pt x="3058005" y="4609350"/>
                  <a:pt x="2825698" y="4609350"/>
                </a:cubicBezTo>
                <a:cubicBezTo>
                  <a:pt x="2596531" y="4609350"/>
                  <a:pt x="2495725" y="4447214"/>
                  <a:pt x="2495725" y="4168717"/>
                </a:cubicBezTo>
                <a:lnTo>
                  <a:pt x="2495725" y="3874845"/>
                </a:lnTo>
                <a:lnTo>
                  <a:pt x="2116919" y="3969890"/>
                </a:lnTo>
                <a:lnTo>
                  <a:pt x="2116919" y="4101626"/>
                </a:lnTo>
                <a:cubicBezTo>
                  <a:pt x="2116919" y="4502074"/>
                  <a:pt x="2315391" y="4808176"/>
                  <a:pt x="2825698" y="4808176"/>
                </a:cubicBezTo>
                <a:moveTo>
                  <a:pt x="809585" y="4584890"/>
                </a:moveTo>
                <a:cubicBezTo>
                  <a:pt x="516237" y="4584890"/>
                  <a:pt x="335903" y="4346228"/>
                  <a:pt x="335903" y="4092191"/>
                </a:cubicBezTo>
                <a:cubicBezTo>
                  <a:pt x="335903" y="3933200"/>
                  <a:pt x="406013" y="3786089"/>
                  <a:pt x="522166" y="3703623"/>
                </a:cubicBezTo>
                <a:lnTo>
                  <a:pt x="1212807" y="4459444"/>
                </a:lnTo>
                <a:cubicBezTo>
                  <a:pt x="1084446" y="4535969"/>
                  <a:pt x="940737" y="4584890"/>
                  <a:pt x="809585" y="4584890"/>
                </a:cubicBezTo>
                <a:moveTo>
                  <a:pt x="1178973" y="3489073"/>
                </a:moveTo>
                <a:cubicBezTo>
                  <a:pt x="1426278" y="3489073"/>
                  <a:pt x="1579056" y="3633038"/>
                  <a:pt x="1579056" y="3880785"/>
                </a:cubicBezTo>
                <a:cubicBezTo>
                  <a:pt x="1579056" y="3990856"/>
                  <a:pt x="1548361" y="4104072"/>
                  <a:pt x="1481390" y="4208202"/>
                </a:cubicBezTo>
                <a:lnTo>
                  <a:pt x="882834" y="3547078"/>
                </a:lnTo>
                <a:cubicBezTo>
                  <a:pt x="989570" y="3504447"/>
                  <a:pt x="1093515" y="3489073"/>
                  <a:pt x="1178973" y="3489073"/>
                </a:cubicBezTo>
                <a:moveTo>
                  <a:pt x="809585" y="2730108"/>
                </a:moveTo>
                <a:cubicBezTo>
                  <a:pt x="989919" y="2730108"/>
                  <a:pt x="1096654" y="2834238"/>
                  <a:pt x="1096654" y="3023979"/>
                </a:cubicBezTo>
                <a:cubicBezTo>
                  <a:pt x="1096654" y="3198346"/>
                  <a:pt x="1011196" y="3363627"/>
                  <a:pt x="800167" y="3458672"/>
                </a:cubicBezTo>
                <a:lnTo>
                  <a:pt x="668666" y="3311911"/>
                </a:lnTo>
                <a:cubicBezTo>
                  <a:pt x="552513" y="3183320"/>
                  <a:pt x="519027" y="3103650"/>
                  <a:pt x="519027" y="3008954"/>
                </a:cubicBezTo>
                <a:cubicBezTo>
                  <a:pt x="519027" y="2831093"/>
                  <a:pt x="632390" y="2730108"/>
                  <a:pt x="809585" y="2730108"/>
                </a:cubicBezTo>
                <a:moveTo>
                  <a:pt x="1576266" y="4312333"/>
                </a:moveTo>
                <a:cubicBezTo>
                  <a:pt x="1741252" y="4116302"/>
                  <a:pt x="1835779" y="3902101"/>
                  <a:pt x="1835779" y="3715504"/>
                </a:cubicBezTo>
                <a:cubicBezTo>
                  <a:pt x="1835779" y="3482783"/>
                  <a:pt x="1679862" y="3326937"/>
                  <a:pt x="1435696" y="3326937"/>
                </a:cubicBezTo>
                <a:cubicBezTo>
                  <a:pt x="1307335" y="3326937"/>
                  <a:pt x="1163625" y="3363627"/>
                  <a:pt x="1069098" y="3400317"/>
                </a:cubicBezTo>
                <a:lnTo>
                  <a:pt x="1062820" y="3388087"/>
                </a:lnTo>
                <a:cubicBezTo>
                  <a:pt x="1295126" y="3262641"/>
                  <a:pt x="1392793" y="3146280"/>
                  <a:pt x="1392793" y="2984144"/>
                </a:cubicBezTo>
                <a:cubicBezTo>
                  <a:pt x="1392793" y="2751423"/>
                  <a:pt x="1184903" y="2567971"/>
                  <a:pt x="818305" y="2567971"/>
                </a:cubicBezTo>
                <a:cubicBezTo>
                  <a:pt x="396595" y="2567971"/>
                  <a:pt x="189054" y="2803488"/>
                  <a:pt x="189054" y="3097360"/>
                </a:cubicBezTo>
                <a:cubicBezTo>
                  <a:pt x="189054" y="3256351"/>
                  <a:pt x="256374" y="3415692"/>
                  <a:pt x="433569" y="3608578"/>
                </a:cubicBezTo>
                <a:lnTo>
                  <a:pt x="436708" y="3614868"/>
                </a:lnTo>
                <a:cubicBezTo>
                  <a:pt x="137431" y="3758833"/>
                  <a:pt x="0" y="3991205"/>
                  <a:pt x="0" y="4230217"/>
                </a:cubicBezTo>
                <a:cubicBezTo>
                  <a:pt x="0" y="4545404"/>
                  <a:pt x="241376" y="4808526"/>
                  <a:pt x="613903" y="4808526"/>
                </a:cubicBezTo>
                <a:cubicBezTo>
                  <a:pt x="827723" y="4808526"/>
                  <a:pt x="1078167" y="4719770"/>
                  <a:pt x="1304544" y="4560779"/>
                </a:cubicBezTo>
                <a:lnTo>
                  <a:pt x="1488017" y="4759605"/>
                </a:lnTo>
                <a:lnTo>
                  <a:pt x="1967629" y="4759605"/>
                </a:lnTo>
                <a:lnTo>
                  <a:pt x="1967629" y="4744230"/>
                </a:lnTo>
                <a:lnTo>
                  <a:pt x="1576266" y="4312333"/>
                </a:lnTo>
                <a:close/>
              </a:path>
            </a:pathLst>
          </a:custGeom>
          <a:solidFill>
            <a:schemeClr val="bg1"/>
          </a:solidFill>
          <a:ln w="34866"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311935989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4807" y="319682"/>
            <a:ext cx="9231631" cy="2230919"/>
          </a:xfrm>
        </p:spPr>
        <p:txBody>
          <a:bodyPr anchor="t"/>
          <a:lstStyle>
            <a:lvl1pPr>
              <a:lnSpc>
                <a:spcPct val="80000"/>
              </a:lnSpc>
              <a:defRPr sz="8880" spc="0" baseline="0">
                <a:solidFill>
                  <a:schemeClr val="tx1"/>
                </a:solidFill>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9018573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Section Header 2">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4807" y="320048"/>
            <a:ext cx="9231631" cy="2230919"/>
          </a:xfrm>
        </p:spPr>
        <p:txBody>
          <a:bodyPr anchor="t"/>
          <a:lstStyle>
            <a:lvl1pPr>
              <a:lnSpc>
                <a:spcPct val="80000"/>
              </a:lnSpc>
              <a:defRPr sz="8880" spc="0" baseline="0">
                <a:solidFill>
                  <a:schemeClr val="bg1"/>
                </a:solidFill>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4" name="Graphic 8">
            <a:extLst>
              <a:ext uri="{FF2B5EF4-FFF2-40B4-BE49-F238E27FC236}">
                <a16:creationId xmlns:a16="http://schemas.microsoft.com/office/drawing/2014/main" id="{1BEEFE38-569A-A8EF-1D54-81764BE3F5BA}"/>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76316540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ection Header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7262" y="319682"/>
            <a:ext cx="6878405" cy="3324140"/>
          </a:xfrm>
        </p:spPr>
        <p:txBody>
          <a:bodyPr anchor="t"/>
          <a:lstStyle>
            <a:lvl1pPr>
              <a:lnSpc>
                <a:spcPct val="80000"/>
              </a:lnSpc>
              <a:defRPr sz="8880" spc="0" baseline="0">
                <a:solidFill>
                  <a:schemeClr val="bg1"/>
                </a:solidFill>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3" name="Graphic 8">
            <a:extLst>
              <a:ext uri="{FF2B5EF4-FFF2-40B4-BE49-F238E27FC236}">
                <a16:creationId xmlns:a16="http://schemas.microsoft.com/office/drawing/2014/main" id="{D45A48FB-9AA7-F5E5-80E7-97EC299F000F}"/>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
        <p:nvSpPr>
          <p:cNvPr id="4" name="Picture Placeholder 3">
            <a:extLst>
              <a:ext uri="{FF2B5EF4-FFF2-40B4-BE49-F238E27FC236}">
                <a16:creationId xmlns:a16="http://schemas.microsoft.com/office/drawing/2014/main" id="{E97FF01E-CE3E-39E2-D61B-0FA837B6BDA6}"/>
              </a:ext>
            </a:extLst>
          </p:cNvPr>
          <p:cNvSpPr>
            <a:spLocks noGrp="1"/>
          </p:cNvSpPr>
          <p:nvPr>
            <p:ph type="pic" sz="quarter" idx="13" hasCustomPrompt="1"/>
          </p:nvPr>
        </p:nvSpPr>
        <p:spPr>
          <a:xfrm>
            <a:off x="7874859" y="0"/>
            <a:ext cx="6755543" cy="8229600"/>
          </a:xfrm>
          <a:solidFill>
            <a:srgbClr val="F6F3F2"/>
          </a:solidFill>
        </p:spPr>
        <p:txBody>
          <a:bodyPr/>
          <a:lstStyle>
            <a:lvl1pPr>
              <a:defRPr lang="en-US"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30115068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 Header with Imag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347262" y="324002"/>
            <a:ext cx="6878405" cy="3324140"/>
          </a:xfrm>
        </p:spPr>
        <p:txBody>
          <a:bodyPr anchor="t"/>
          <a:lstStyle>
            <a:lvl1pPr>
              <a:lnSpc>
                <a:spcPct val="80000"/>
              </a:lnSpc>
              <a:defRPr sz="8880" spc="0" baseline="0">
                <a:solidFill>
                  <a:schemeClr val="tx2"/>
                </a:solidFill>
              </a:defRPr>
            </a:lvl1pPr>
          </a:lstStyle>
          <a:p>
            <a:r>
              <a:rPr lang="en-US"/>
              <a:t>Click to edit Master title style</a:t>
            </a:r>
            <a:endParaRPr lang="en-GB" dirty="0"/>
          </a:p>
        </p:txBody>
      </p:sp>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7399020" y="0"/>
            <a:ext cx="7231380" cy="8229600"/>
          </a:xfrm>
          <a:solidFill>
            <a:srgbClr val="F6F3F2"/>
          </a:solidFill>
        </p:spPr>
        <p:txBody>
          <a:bodyPr/>
          <a:lstStyle>
            <a:lvl1pPr>
              <a:defRPr b="0" i="0">
                <a:latin typeface="+mn-lt"/>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6642952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499"/>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0" y="2055497"/>
            <a:ext cx="6482080" cy="5003608"/>
          </a:xfrm>
        </p:spPr>
        <p:txBody>
          <a:bodyPr/>
          <a:lstStyle>
            <a:lvl1pPr marL="0" indent="0">
              <a:buNone/>
              <a:defRPr sz="2400"/>
            </a:lvl1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spTree>
  </p:cSld>
  <p:clrMapOvr>
    <a:masterClrMapping/>
  </p:clrMapOvr>
  <p:transition>
    <p:fade/>
  </p:transition>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344060" y="328322"/>
            <a:ext cx="2174351" cy="470898"/>
          </a:xfrm>
        </p:spPr>
        <p:txBody>
          <a:bodyPr/>
          <a:lstStyle>
            <a:lvl1pPr>
              <a:lnSpc>
                <a:spcPct val="85000"/>
              </a:lnSpc>
              <a:defRPr sz="1800" b="1" i="0">
                <a:solidFill>
                  <a:schemeClr val="tx1"/>
                </a:solidFill>
                <a:latin typeface="+mn-lt"/>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870961" y="332641"/>
            <a:ext cx="10759440" cy="7194017"/>
          </a:xfrm>
        </p:spPr>
        <p:txBody>
          <a:bodyPr/>
          <a:lstStyle>
            <a:lvl1pPr marL="1177243" indent="-1177243">
              <a:lnSpc>
                <a:spcPct val="80000"/>
              </a:lnSpc>
              <a:spcBef>
                <a:spcPts val="720"/>
              </a:spcBef>
              <a:spcAft>
                <a:spcPts val="720"/>
              </a:spcAft>
              <a:buFont typeface="+mj-lt"/>
              <a:buAutoNum type="arabicPeriod"/>
              <a:tabLst/>
              <a:defRPr sz="3600" b="0" i="0">
                <a:latin typeface="+mj-lt"/>
              </a:defRPr>
            </a:lvl1pPr>
            <a:lvl2pPr marL="1442028" indent="-264786">
              <a:tabLst/>
              <a:defRPr/>
            </a:lvl2pPr>
            <a:lvl3pPr marL="1442028" indent="-264786">
              <a:tabLst/>
              <a:defRPr/>
            </a:lvl3pPr>
            <a:lvl4pPr marL="1442028" indent="-264786">
              <a:tabLst/>
              <a:defRPr/>
            </a:lvl4pPr>
            <a:lvl5pPr marL="1442028" indent="-26478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75386026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344060" y="328322"/>
            <a:ext cx="2174351" cy="470898"/>
          </a:xfrm>
        </p:spPr>
        <p:txBody>
          <a:bodyPr/>
          <a:lstStyle>
            <a:lvl1pPr>
              <a:lnSpc>
                <a:spcPct val="85000"/>
              </a:lnSpc>
              <a:defRPr sz="1800" b="1" i="0">
                <a:solidFill>
                  <a:schemeClr val="tx1"/>
                </a:solidFill>
                <a:latin typeface="+mn-lt"/>
              </a:defRPr>
            </a:lvl1pPr>
          </a:lstStyle>
          <a:p>
            <a:r>
              <a:rPr lang="en-US"/>
              <a:t>Click to edit Master title style</a:t>
            </a:r>
            <a:endParaRPr lang="en-GB" dirty="0"/>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870961" y="1119760"/>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870960" y="278127"/>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dirty="0"/>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5048250" y="278127"/>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10927756" y="278127"/>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870961" y="64679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870960" y="750567"/>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5048250" y="750567"/>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10927756" y="750567"/>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870960" y="1226636"/>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5048250" y="1226636"/>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10927756" y="1226636"/>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870961" y="1602184"/>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870960" y="1702705"/>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5048250" y="1702705"/>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10927756" y="1702705"/>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870961" y="208460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870960" y="2178773"/>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5048250" y="2178773"/>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10927756" y="2178773"/>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870961" y="254811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870960" y="2654842"/>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5048250" y="2654842"/>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10927756" y="2654842"/>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870961" y="303053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870960" y="3129184"/>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5048250" y="3129184"/>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10927756" y="3129184"/>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870961" y="350350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870960" y="3603526"/>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dirty="0"/>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5048250" y="3603526"/>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10927756" y="3603526"/>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870961" y="3976471"/>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870960" y="4077868"/>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5048250" y="4077868"/>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10927756" y="4077868"/>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870961" y="445889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870960" y="4552210"/>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5048250" y="4552210"/>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10927756" y="4552210"/>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870961" y="4922401"/>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870960" y="5022935"/>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5048250" y="5022935"/>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10927756" y="5022935"/>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870961" y="5395366"/>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870960" y="5493661"/>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5048250" y="5493661"/>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10927756" y="5493661"/>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870961" y="5868331"/>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870960" y="5962825"/>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5048250" y="5962825"/>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10927756" y="5962825"/>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870961" y="6331837"/>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b="0" i="0">
                <a:latin typeface="+mn-lt"/>
              </a:defRPr>
            </a:lvl1pPr>
          </a:lstStyle>
          <a:p>
            <a:r>
              <a:rPr lang="en-GB" dirty="0"/>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870960" y="6431989"/>
            <a:ext cx="1003936" cy="274691"/>
          </a:xfrm>
        </p:spPr>
        <p:txBody>
          <a:bodyPr wrap="square">
            <a:noAutofit/>
          </a:bodyPr>
          <a:lstStyle>
            <a:lvl1pPr marL="0" indent="0">
              <a:spcBef>
                <a:spcPts val="0"/>
              </a:spcBef>
              <a:spcAft>
                <a:spcPts val="0"/>
              </a:spcAft>
              <a:buFont typeface="+mj-lt"/>
              <a:buNone/>
              <a:tabLst/>
              <a:defRPr sz="1800" b="0" i="0">
                <a:latin typeface="+mn-lt"/>
              </a:defRPr>
            </a:lvl1pPr>
            <a:lvl2pPr>
              <a:defRPr sz="1800"/>
            </a:lvl2pPr>
            <a:lvl3pPr>
              <a:defRPr sz="1800"/>
            </a:lvl3pPr>
            <a:lvl4pPr>
              <a:defRPr sz="1800"/>
            </a:lvl4pPr>
            <a:lvl5pPr>
              <a:defRPr sz="18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5048250" y="6431989"/>
            <a:ext cx="5705476"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10927756" y="6431989"/>
            <a:ext cx="3352871" cy="274691"/>
          </a:xfrm>
        </p:spPr>
        <p:txBody>
          <a:bodyPr wrap="square">
            <a:noAutofit/>
          </a:bodyPr>
          <a:lstStyle>
            <a:lvl1pPr marL="0" indent="0">
              <a:spcBef>
                <a:spcPts val="0"/>
              </a:spcBef>
              <a:spcAft>
                <a:spcPts val="0"/>
              </a:spcAft>
              <a:buFont typeface="+mj-lt"/>
              <a:buNone/>
              <a:tabLst/>
              <a:defRPr sz="1800" b="0" i="0">
                <a:latin typeface="+mn-lt"/>
              </a:defRPr>
            </a:lvl1pPr>
            <a:lvl2pPr marL="0" indent="0">
              <a:buNone/>
              <a:defRPr sz="1800"/>
            </a:lvl2pPr>
            <a:lvl3pPr>
              <a:defRPr sz="1800"/>
            </a:lvl3pPr>
            <a:lvl4pPr>
              <a:defRPr sz="1800"/>
            </a:lvl4pPr>
            <a:lvl5pPr>
              <a:defRPr sz="1800"/>
            </a:lvl5pPr>
          </a:lstStyle>
          <a:p>
            <a:pPr lvl="0"/>
            <a:r>
              <a:rPr lang="en-GB" dirty="0" err="1"/>
              <a:t>Firstname</a:t>
            </a:r>
            <a:r>
              <a:rPr lang="en-GB" dirty="0"/>
              <a:t> Surname</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21143250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344804" y="323859"/>
            <a:ext cx="13938334" cy="6002654"/>
          </a:xfrm>
        </p:spPr>
        <p:txBody>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4847625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tx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345965" y="328322"/>
            <a:ext cx="2174351" cy="470898"/>
          </a:xfrm>
        </p:spPr>
        <p:txBody>
          <a:bodyPr/>
          <a:lstStyle>
            <a:lvl1pPr>
              <a:lnSpc>
                <a:spcPct val="85000"/>
              </a:lnSpc>
              <a:defRPr sz="1800" b="1" i="0">
                <a:solidFill>
                  <a:schemeClr val="bg1"/>
                </a:solidFill>
                <a:latin typeface="+mn-lt"/>
              </a:defRPr>
            </a:lvl1pPr>
          </a:lstStyle>
          <a:p>
            <a:r>
              <a:rPr lang="en-US"/>
              <a:t>Click to edit Master title style</a:t>
            </a:r>
            <a:endParaRPr lang="en-GB" dirty="0"/>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870961" y="349246"/>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9749789" y="632460"/>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870961" y="2738878"/>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9749789" y="3022092"/>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870961" y="514376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9749789" y="5426978"/>
            <a:ext cx="4530090" cy="17983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870961" y="754558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80"/>
            </a:lvl1pPr>
          </a:lstStyle>
          <a:p>
            <a:pPr lvl="8"/>
            <a:r>
              <a:rPr lang="en-GB" dirty="0"/>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870960" y="133350"/>
            <a:ext cx="4531996" cy="2146936"/>
          </a:xfrm>
        </p:spPr>
        <p:txBody>
          <a:bodyPr/>
          <a:lstStyle>
            <a:lvl1pPr>
              <a:defRPr sz="13200">
                <a:solidFill>
                  <a:schemeClr val="bg1"/>
                </a:solidFill>
                <a:latin typeface="+mj-lt"/>
              </a:defRPr>
            </a:lvl1pPr>
          </a:lstStyle>
          <a:p>
            <a:pPr lvl="0"/>
            <a:r>
              <a:rPr lang="en-GB" dirty="0"/>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870960" y="2523141"/>
            <a:ext cx="4531996" cy="2146936"/>
          </a:xfrm>
        </p:spPr>
        <p:txBody>
          <a:bodyPr/>
          <a:lstStyle>
            <a:lvl1pPr>
              <a:defRPr sz="13200">
                <a:solidFill>
                  <a:schemeClr val="bg1"/>
                </a:solidFill>
                <a:latin typeface="+mj-lt"/>
              </a:defRPr>
            </a:lvl1pPr>
          </a:lstStyle>
          <a:p>
            <a:pPr lvl="0"/>
            <a:r>
              <a:rPr lang="en-GB" dirty="0"/>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870960" y="4927355"/>
            <a:ext cx="4531996" cy="2146936"/>
          </a:xfrm>
        </p:spPr>
        <p:txBody>
          <a:bodyPr/>
          <a:lstStyle>
            <a:lvl1pPr>
              <a:defRPr sz="13200">
                <a:solidFill>
                  <a:schemeClr val="bg1"/>
                </a:solidFill>
                <a:latin typeface="+mj-lt"/>
              </a:defRPr>
            </a:lvl1pPr>
          </a:lstStyle>
          <a:p>
            <a:pPr lvl="0"/>
            <a:r>
              <a:rPr lang="en-GB" dirty="0"/>
              <a:t>00</a:t>
            </a:r>
          </a:p>
        </p:txBody>
      </p:sp>
      <p:sp>
        <p:nvSpPr>
          <p:cNvPr id="2" name="Graphic 8">
            <a:extLst>
              <a:ext uri="{FF2B5EF4-FFF2-40B4-BE49-F238E27FC236}">
                <a16:creationId xmlns:a16="http://schemas.microsoft.com/office/drawing/2014/main" id="{87803E29-408D-BDC5-463B-8562EADCC69D}"/>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79198209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rgbClr val="F6F3F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345965" y="328320"/>
            <a:ext cx="2174351" cy="476438"/>
          </a:xfrm>
        </p:spPr>
        <p:txBody>
          <a:bodyPr/>
          <a:lstStyle>
            <a:lvl1pPr>
              <a:lnSpc>
                <a:spcPct val="85000"/>
              </a:lnSpc>
              <a:defRPr sz="1800" b="1" i="0">
                <a:solidFill>
                  <a:schemeClr val="tx1"/>
                </a:solidFill>
                <a:latin typeface="Johnson Text" pitchFamily="2" charset="77"/>
              </a:defRPr>
            </a:lvl1p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D816501-AAE5-214E-B100-00C3DC5F5E3F}" type="slidenum">
              <a:rPr lang="en-US" smtClean="0"/>
              <a:pPr/>
              <a:t>‹#›</a:t>
            </a:fld>
            <a:endParaRPr lang="en-US" dirty="0"/>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870961" y="349246"/>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9749789" y="632460"/>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870961" y="2738878"/>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9749789" y="3022092"/>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870961" y="5143765"/>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9749789" y="5426978"/>
            <a:ext cx="4530090" cy="1798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870961" y="7545589"/>
            <a:ext cx="10408919" cy="54863"/>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80"/>
            </a:lvl1pPr>
            <a:lvl9pPr>
              <a:defRPr>
                <a:solidFill>
                  <a:schemeClr val="tx1"/>
                </a:solidFill>
              </a:defRPr>
            </a:lvl9pPr>
          </a:lstStyle>
          <a:p>
            <a:pPr lvl="8"/>
            <a:r>
              <a:rPr lang="en-GB" dirty="0"/>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870960" y="133350"/>
            <a:ext cx="4531996" cy="2146936"/>
          </a:xfrm>
        </p:spPr>
        <p:txBody>
          <a:bodyPr/>
          <a:lstStyle>
            <a:lvl1pPr>
              <a:defRPr sz="13200">
                <a:solidFill>
                  <a:schemeClr val="tx2"/>
                </a:solidFill>
                <a:latin typeface="+mj-lt"/>
              </a:defRPr>
            </a:lvl1pPr>
          </a:lstStyle>
          <a:p>
            <a:pPr lvl="0"/>
            <a:r>
              <a:rPr lang="en-GB" dirty="0"/>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870960" y="2523141"/>
            <a:ext cx="4531996" cy="2146936"/>
          </a:xfrm>
        </p:spPr>
        <p:txBody>
          <a:bodyPr/>
          <a:lstStyle>
            <a:lvl1pPr>
              <a:defRPr sz="13200">
                <a:solidFill>
                  <a:schemeClr val="tx2"/>
                </a:solidFill>
                <a:latin typeface="+mj-lt"/>
              </a:defRPr>
            </a:lvl1pPr>
          </a:lstStyle>
          <a:p>
            <a:pPr lvl="0"/>
            <a:r>
              <a:rPr lang="en-GB" dirty="0"/>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870960" y="4927355"/>
            <a:ext cx="4531996" cy="2146936"/>
          </a:xfrm>
        </p:spPr>
        <p:txBody>
          <a:bodyPr/>
          <a:lstStyle>
            <a:lvl1pPr>
              <a:defRPr sz="13200">
                <a:solidFill>
                  <a:schemeClr val="tx2"/>
                </a:solidFill>
                <a:latin typeface="+mj-lt"/>
              </a:defRPr>
            </a:lvl1pPr>
          </a:lstStyle>
          <a:p>
            <a:pPr lvl="0"/>
            <a:r>
              <a:rPr lang="en-GB" dirty="0"/>
              <a:t>00</a:t>
            </a:r>
          </a:p>
        </p:txBody>
      </p:sp>
    </p:spTree>
    <p:extLst>
      <p:ext uri="{BB962C8B-B14F-4D97-AF65-F5344CB8AC3E}">
        <p14:creationId xmlns:p14="http://schemas.microsoft.com/office/powerpoint/2010/main" val="4160886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345965" y="314720"/>
            <a:ext cx="6879701" cy="562308"/>
          </a:xfrm>
        </p:spPr>
        <p:txBody>
          <a:bodyPr/>
          <a:lstStyle/>
          <a:p>
            <a:r>
              <a:rPr lang="en-GB" dirty="0"/>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7400162" y="324000"/>
            <a:ext cx="6884670" cy="7210030"/>
          </a:xfrm>
        </p:spPr>
        <p:txBody>
          <a:bodyPr/>
          <a:lstStyle>
            <a:lvl1pPr>
              <a:defRPr sz="2160"/>
            </a:lvl1pPr>
            <a:lvl2pPr>
              <a:defRPr sz="2160"/>
            </a:lvl2pPr>
            <a:lvl3pPr>
              <a:defRPr sz="192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p:nvPr>
        </p:nvSpPr>
        <p:spPr>
          <a:xfrm>
            <a:off x="346710" y="5299828"/>
            <a:ext cx="4533900" cy="2179202"/>
          </a:xfrm>
        </p:spPr>
        <p:txBody>
          <a:body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345964" y="856345"/>
            <a:ext cx="6879700" cy="347326"/>
          </a:xfrm>
        </p:spPr>
        <p:txBody>
          <a:bodyPr wrap="square" anchor="t">
            <a:spAutoFit/>
          </a:bodyPr>
          <a:lstStyle>
            <a:lvl1pPr marL="0" indent="0" algn="l">
              <a:lnSpc>
                <a:spcPct val="110000"/>
              </a:lnSpc>
              <a:spcBef>
                <a:spcPts val="0"/>
              </a:spcBef>
              <a:spcAft>
                <a:spcPts val="0"/>
              </a:spcAft>
              <a:buNone/>
              <a:tabLst/>
              <a:defRPr lang="en-GB" sz="2160" b="1" dirty="0" smtClean="0">
                <a:solidFill>
                  <a:schemeClr val="tx1"/>
                </a:solidFill>
                <a:latin typeface="+mn-lt"/>
              </a:defRPr>
            </a:lvl1pPr>
            <a:lvl2pPr marL="0" indent="0" algn="l">
              <a:lnSpc>
                <a:spcPct val="110000"/>
              </a:lnSpc>
              <a:spcBef>
                <a:spcPts val="0"/>
              </a:spcBef>
              <a:spcAft>
                <a:spcPts val="0"/>
              </a:spcAft>
              <a:buNone/>
              <a:tabLst/>
              <a:defRPr lang="en-GB" sz="2160" dirty="0" smtClean="0">
                <a:solidFill>
                  <a:schemeClr val="tx1"/>
                </a:solidFill>
                <a:latin typeface="+mn-lt"/>
              </a:defRPr>
            </a:lvl2pPr>
            <a:lvl3pPr marL="0" indent="0" algn="l">
              <a:lnSpc>
                <a:spcPct val="110000"/>
              </a:lnSpc>
              <a:spcBef>
                <a:spcPts val="0"/>
              </a:spcBef>
              <a:spcAft>
                <a:spcPts val="0"/>
              </a:spcAft>
              <a:buNone/>
              <a:tabLst/>
              <a:defRPr lang="en-GB" sz="2160" dirty="0" smtClean="0">
                <a:solidFill>
                  <a:schemeClr val="tx1"/>
                </a:solidFill>
                <a:latin typeface="+mn-lt"/>
              </a:defRPr>
            </a:lvl3pPr>
            <a:lvl4pPr marL="0" indent="0" algn="l">
              <a:lnSpc>
                <a:spcPct val="110000"/>
              </a:lnSpc>
              <a:spcBef>
                <a:spcPts val="0"/>
              </a:spcBef>
              <a:spcAft>
                <a:spcPts val="0"/>
              </a:spcAft>
              <a:buNone/>
              <a:tabLst/>
              <a:defRPr lang="en-GB" sz="2160" dirty="0" smtClean="0">
                <a:solidFill>
                  <a:schemeClr val="tx1"/>
                </a:solidFill>
                <a:latin typeface="+mn-lt"/>
              </a:defRPr>
            </a:lvl4pPr>
            <a:lvl5pPr marL="0" indent="0" algn="l">
              <a:lnSpc>
                <a:spcPct val="110000"/>
              </a:lnSpc>
              <a:spcBef>
                <a:spcPts val="0"/>
              </a:spcBef>
              <a:spcAft>
                <a:spcPts val="0"/>
              </a:spcAft>
              <a:buNone/>
              <a:tabLst/>
              <a:defRPr lang="en-GB" sz="2160" dirty="0" smtClean="0">
                <a:solidFill>
                  <a:schemeClr val="tx1"/>
                </a:solidFill>
                <a:latin typeface="+mn-lt"/>
              </a:defRPr>
            </a:lvl5pPr>
            <a:lvl6pPr marL="0" indent="0" algn="l">
              <a:lnSpc>
                <a:spcPct val="110000"/>
              </a:lnSpc>
              <a:spcBef>
                <a:spcPts val="0"/>
              </a:spcBef>
              <a:spcAft>
                <a:spcPts val="0"/>
              </a:spcAft>
              <a:buNone/>
              <a:tabLst/>
              <a:defRPr lang="en-GB" sz="2160" dirty="0" smtClean="0">
                <a:solidFill>
                  <a:schemeClr val="tx1"/>
                </a:solidFill>
                <a:latin typeface="+mn-lt"/>
              </a:defRPr>
            </a:lvl6pPr>
            <a:lvl7pPr marL="0" indent="0" algn="l">
              <a:lnSpc>
                <a:spcPct val="110000"/>
              </a:lnSpc>
              <a:spcBef>
                <a:spcPts val="0"/>
              </a:spcBef>
              <a:spcAft>
                <a:spcPts val="0"/>
              </a:spcAft>
              <a:buNone/>
              <a:tabLst/>
              <a:defRPr lang="en-GB" sz="2160" dirty="0" smtClean="0">
                <a:solidFill>
                  <a:schemeClr val="tx1"/>
                </a:solidFill>
                <a:latin typeface="+mn-lt"/>
              </a:defRPr>
            </a:lvl7pPr>
            <a:lvl8pPr marL="0" indent="0" algn="l">
              <a:lnSpc>
                <a:spcPct val="110000"/>
              </a:lnSpc>
              <a:spcBef>
                <a:spcPts val="0"/>
              </a:spcBef>
              <a:spcAft>
                <a:spcPts val="0"/>
              </a:spcAft>
              <a:buNone/>
              <a:tabLst/>
              <a:defRPr lang="en-GB" sz="2160" dirty="0" smtClean="0">
                <a:solidFill>
                  <a:schemeClr val="tx1"/>
                </a:solidFill>
                <a:latin typeface="+mn-lt"/>
              </a:defRPr>
            </a:lvl8pPr>
            <a:lvl9pPr marL="0" indent="0" algn="l">
              <a:lnSpc>
                <a:spcPct val="110000"/>
              </a:lnSpc>
              <a:spcBef>
                <a:spcPts val="0"/>
              </a:spcBef>
              <a:spcAft>
                <a:spcPts val="0"/>
              </a:spcAft>
              <a:buNone/>
              <a:tabLst/>
              <a:defRPr lang="en-GB" sz="2160" dirty="0">
                <a:solidFill>
                  <a:schemeClr val="tx1"/>
                </a:solidFill>
                <a:latin typeface="+mn-lt"/>
              </a:defRPr>
            </a:lvl9pPr>
          </a:lstStyle>
          <a:p>
            <a:pPr lvl="0"/>
            <a:r>
              <a:rPr lang="en-GB" dirty="0"/>
              <a:t>Subtitle goes here if required</a:t>
            </a:r>
          </a:p>
        </p:txBody>
      </p:sp>
    </p:spTree>
    <p:extLst>
      <p:ext uri="{BB962C8B-B14F-4D97-AF65-F5344CB8AC3E}">
        <p14:creationId xmlns:p14="http://schemas.microsoft.com/office/powerpoint/2010/main" val="40293120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9749790" y="354242"/>
            <a:ext cx="4533900"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345964" y="856345"/>
            <a:ext cx="6879700" cy="347326"/>
          </a:xfrm>
        </p:spPr>
        <p:txBody>
          <a:bodyPr wrap="square" anchor="t">
            <a:spAutoFit/>
          </a:bodyPr>
          <a:lstStyle>
            <a:lvl1pPr marL="0" indent="0" algn="l">
              <a:lnSpc>
                <a:spcPct val="110000"/>
              </a:lnSpc>
              <a:spcBef>
                <a:spcPts val="0"/>
              </a:spcBef>
              <a:spcAft>
                <a:spcPts val="0"/>
              </a:spcAft>
              <a:buNone/>
              <a:tabLst/>
              <a:defRPr lang="en-GB" sz="2160" b="1" dirty="0" smtClean="0">
                <a:solidFill>
                  <a:schemeClr val="tx1"/>
                </a:solidFill>
                <a:latin typeface="+mn-lt"/>
              </a:defRPr>
            </a:lvl1pPr>
            <a:lvl2pPr marL="0" indent="0" algn="l">
              <a:lnSpc>
                <a:spcPct val="110000"/>
              </a:lnSpc>
              <a:spcBef>
                <a:spcPts val="0"/>
              </a:spcBef>
              <a:spcAft>
                <a:spcPts val="0"/>
              </a:spcAft>
              <a:buNone/>
              <a:tabLst/>
              <a:defRPr lang="en-GB" sz="2160" dirty="0" smtClean="0">
                <a:solidFill>
                  <a:schemeClr val="tx1"/>
                </a:solidFill>
                <a:latin typeface="+mn-lt"/>
              </a:defRPr>
            </a:lvl2pPr>
            <a:lvl3pPr marL="0" indent="0" algn="l">
              <a:lnSpc>
                <a:spcPct val="110000"/>
              </a:lnSpc>
              <a:spcBef>
                <a:spcPts val="0"/>
              </a:spcBef>
              <a:spcAft>
                <a:spcPts val="0"/>
              </a:spcAft>
              <a:buNone/>
              <a:tabLst/>
              <a:defRPr lang="en-GB" sz="2160" dirty="0" smtClean="0">
                <a:solidFill>
                  <a:schemeClr val="tx1"/>
                </a:solidFill>
                <a:latin typeface="+mn-lt"/>
              </a:defRPr>
            </a:lvl3pPr>
            <a:lvl4pPr marL="0" indent="0" algn="l">
              <a:lnSpc>
                <a:spcPct val="110000"/>
              </a:lnSpc>
              <a:spcBef>
                <a:spcPts val="0"/>
              </a:spcBef>
              <a:spcAft>
                <a:spcPts val="0"/>
              </a:spcAft>
              <a:buNone/>
              <a:tabLst/>
              <a:defRPr lang="en-GB" sz="2160" dirty="0" smtClean="0">
                <a:solidFill>
                  <a:schemeClr val="tx1"/>
                </a:solidFill>
                <a:latin typeface="+mn-lt"/>
              </a:defRPr>
            </a:lvl4pPr>
            <a:lvl5pPr marL="0" indent="0" algn="l">
              <a:lnSpc>
                <a:spcPct val="110000"/>
              </a:lnSpc>
              <a:spcBef>
                <a:spcPts val="0"/>
              </a:spcBef>
              <a:spcAft>
                <a:spcPts val="0"/>
              </a:spcAft>
              <a:buNone/>
              <a:tabLst/>
              <a:defRPr lang="en-GB" sz="2160" dirty="0" smtClean="0">
                <a:solidFill>
                  <a:schemeClr val="tx1"/>
                </a:solidFill>
                <a:latin typeface="+mn-lt"/>
              </a:defRPr>
            </a:lvl5pPr>
            <a:lvl6pPr marL="0" indent="0" algn="l">
              <a:lnSpc>
                <a:spcPct val="110000"/>
              </a:lnSpc>
              <a:spcBef>
                <a:spcPts val="0"/>
              </a:spcBef>
              <a:spcAft>
                <a:spcPts val="0"/>
              </a:spcAft>
              <a:buNone/>
              <a:tabLst/>
              <a:defRPr lang="en-GB" sz="2160" dirty="0" smtClean="0">
                <a:solidFill>
                  <a:schemeClr val="tx1"/>
                </a:solidFill>
                <a:latin typeface="+mn-lt"/>
              </a:defRPr>
            </a:lvl6pPr>
            <a:lvl7pPr marL="0" indent="0" algn="l">
              <a:lnSpc>
                <a:spcPct val="110000"/>
              </a:lnSpc>
              <a:spcBef>
                <a:spcPts val="0"/>
              </a:spcBef>
              <a:spcAft>
                <a:spcPts val="0"/>
              </a:spcAft>
              <a:buNone/>
              <a:tabLst/>
              <a:defRPr lang="en-GB" sz="2160" dirty="0" smtClean="0">
                <a:solidFill>
                  <a:schemeClr val="tx1"/>
                </a:solidFill>
                <a:latin typeface="+mn-lt"/>
              </a:defRPr>
            </a:lvl7pPr>
            <a:lvl8pPr marL="0" indent="0" algn="l">
              <a:lnSpc>
                <a:spcPct val="110000"/>
              </a:lnSpc>
              <a:spcBef>
                <a:spcPts val="0"/>
              </a:spcBef>
              <a:spcAft>
                <a:spcPts val="0"/>
              </a:spcAft>
              <a:buNone/>
              <a:tabLst/>
              <a:defRPr lang="en-GB" sz="2160" dirty="0" smtClean="0">
                <a:solidFill>
                  <a:schemeClr val="tx1"/>
                </a:solidFill>
                <a:latin typeface="+mn-lt"/>
              </a:defRPr>
            </a:lvl8pPr>
            <a:lvl9pPr marL="0" indent="0" algn="l">
              <a:lnSpc>
                <a:spcPct val="110000"/>
              </a:lnSpc>
              <a:spcBef>
                <a:spcPts val="0"/>
              </a:spcBef>
              <a:spcAft>
                <a:spcPts val="0"/>
              </a:spcAft>
              <a:buNone/>
              <a:tabLst/>
              <a:defRPr lang="en-GB" sz="2160" dirty="0">
                <a:solidFill>
                  <a:schemeClr val="tx1"/>
                </a:solidFill>
                <a:latin typeface="+mn-lt"/>
              </a:defRPr>
            </a:lvl9pPr>
          </a:lstStyle>
          <a:p>
            <a:pPr lvl="0"/>
            <a:r>
              <a:rPr lang="en-GB" dirty="0"/>
              <a:t>Subtitle goes here if required</a:t>
            </a:r>
          </a:p>
        </p:txBody>
      </p:sp>
    </p:spTree>
    <p:extLst>
      <p:ext uri="{BB962C8B-B14F-4D97-AF65-F5344CB8AC3E}">
        <p14:creationId xmlns:p14="http://schemas.microsoft.com/office/powerpoint/2010/main" val="5591810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1" y="2186939"/>
            <a:ext cx="6878404" cy="53378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3" y="2186941"/>
            <a:ext cx="6880859"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p:nvPr>
        </p:nvSpPr>
        <p:spPr>
          <a:xfrm>
            <a:off x="9749790" y="354242"/>
            <a:ext cx="4533900"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426107942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3" y="2186941"/>
            <a:ext cx="4527635"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5050707" y="2186941"/>
            <a:ext cx="452763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9755504" y="2186941"/>
            <a:ext cx="452763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9750240" y="354242"/>
            <a:ext cx="4528186"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205928292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350520" y="1567818"/>
            <a:ext cx="4524377" cy="2289809"/>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5048251" y="1567818"/>
            <a:ext cx="4530091" cy="2289809"/>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9749789" y="1567818"/>
            <a:ext cx="4530090" cy="2289809"/>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346710" y="4029076"/>
            <a:ext cx="452304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5048251" y="4029076"/>
            <a:ext cx="453168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9749789" y="4029076"/>
            <a:ext cx="453168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45105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ub, RIGHT HALF bullets">
    <p:bg>
      <p:bgPr>
        <a:solidFill>
          <a:schemeClr val="bg1"/>
        </a:solidFill>
        <a:effectLst/>
      </p:bgPr>
    </p:bg>
    <p:spTree>
      <p:nvGrpSpPr>
        <p:cNvPr id="1" name=""/>
        <p:cNvGrpSpPr/>
        <p:nvPr/>
      </p:nvGrpSpPr>
      <p:grpSpPr>
        <a:xfrm>
          <a:off x="0" y="0"/>
          <a:ext cx="0" cy="0"/>
          <a:chOff x="0" y="0"/>
          <a:chExt cx="0" cy="0"/>
        </a:xfrm>
      </p:grpSpPr>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sp>
        <p:nvSpPr>
          <p:cNvPr id="13" name="Rectangle 12">
            <a:extLst>
              <a:ext uri="{FF2B5EF4-FFF2-40B4-BE49-F238E27FC236}">
                <a16:creationId xmlns:a16="http://schemas.microsoft.com/office/drawing/2014/main" id="{EB726643-E58E-CC48-AF17-2A78BB6C30D4}"/>
              </a:ext>
            </a:extLst>
          </p:cNvPr>
          <p:cNvSpPr/>
          <p:nvPr userDrawn="1"/>
        </p:nvSpPr>
        <p:spPr bwMode="auto">
          <a:xfrm>
            <a:off x="721361" y="1634146"/>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12E188AA-0D2B-E449-A0C8-1EFBC82B9C91}"/>
              </a:ext>
            </a:extLst>
          </p:cNvPr>
          <p:cNvSpPr/>
          <p:nvPr userDrawn="1"/>
        </p:nvSpPr>
        <p:spPr bwMode="auto">
          <a:xfrm>
            <a:off x="10811605" y="1634146"/>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3C5CF704-52FC-5740-8859-CC46FFF32894}"/>
              </a:ext>
            </a:extLst>
          </p:cNvPr>
          <p:cNvSpPr/>
          <p:nvPr userDrawn="1"/>
        </p:nvSpPr>
        <p:spPr bwMode="auto">
          <a:xfrm>
            <a:off x="4090887" y="1634146"/>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Rectangle 16">
            <a:extLst>
              <a:ext uri="{FF2B5EF4-FFF2-40B4-BE49-F238E27FC236}">
                <a16:creationId xmlns:a16="http://schemas.microsoft.com/office/drawing/2014/main" id="{63914D36-44F9-2F48-BE16-3B089B393692}"/>
              </a:ext>
            </a:extLst>
          </p:cNvPr>
          <p:cNvSpPr/>
          <p:nvPr userDrawn="1"/>
        </p:nvSpPr>
        <p:spPr bwMode="auto">
          <a:xfrm>
            <a:off x="7451246" y="1634146"/>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 Placeholder 12">
            <a:extLst>
              <a:ext uri="{FF2B5EF4-FFF2-40B4-BE49-F238E27FC236}">
                <a16:creationId xmlns:a16="http://schemas.microsoft.com/office/drawing/2014/main" id="{98E77801-14E1-F447-BA28-6AB45414E1A8}"/>
              </a:ext>
            </a:extLst>
          </p:cNvPr>
          <p:cNvSpPr txBox="1">
            <a:spLocks/>
          </p:cNvSpPr>
          <p:nvPr userDrawn="1"/>
        </p:nvSpPr>
        <p:spPr>
          <a:xfrm>
            <a:off x="-3261245" y="2449769"/>
            <a:ext cx="2763132" cy="3215052"/>
          </a:xfrm>
          <a:prstGeom prst="rect">
            <a:avLst/>
          </a:prstGeom>
        </p:spPr>
        <p:txBody>
          <a:bodyPr/>
          <a:lstStyle>
            <a:lvl1pPr marL="241402" indent="-285293"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40" indent="-28803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824" indent="-24140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736" indent="-24140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557" indent="-22936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468"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a:lstStyle>
          <a:p>
            <a:pPr marL="0" indent="0" defTabSz="914400">
              <a:buNone/>
            </a:pPr>
            <a:endParaRPr lang="en-US" sz="1800" kern="0" dirty="0"/>
          </a:p>
        </p:txBody>
      </p:sp>
      <p:sp>
        <p:nvSpPr>
          <p:cNvPr id="27" name="Text Placeholder 2">
            <a:extLst>
              <a:ext uri="{FF2B5EF4-FFF2-40B4-BE49-F238E27FC236}">
                <a16:creationId xmlns:a16="http://schemas.microsoft.com/office/drawing/2014/main" id="{D3DE7820-60D0-2A47-98FB-E1D6F0ECB6D9}"/>
              </a:ext>
            </a:extLst>
          </p:cNvPr>
          <p:cNvSpPr>
            <a:spLocks noGrp="1"/>
          </p:cNvSpPr>
          <p:nvPr>
            <p:ph type="body" sz="quarter" idx="18"/>
          </p:nvPr>
        </p:nvSpPr>
        <p:spPr>
          <a:xfrm>
            <a:off x="893763" y="1870075"/>
            <a:ext cx="2603500" cy="485775"/>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28" name="Text Placeholder 2">
            <a:extLst>
              <a:ext uri="{FF2B5EF4-FFF2-40B4-BE49-F238E27FC236}">
                <a16:creationId xmlns:a16="http://schemas.microsoft.com/office/drawing/2014/main" id="{46258EAD-CB9B-C745-A692-276ADD6A527E}"/>
              </a:ext>
            </a:extLst>
          </p:cNvPr>
          <p:cNvSpPr>
            <a:spLocks noGrp="1"/>
          </p:cNvSpPr>
          <p:nvPr>
            <p:ph type="body" sz="quarter" idx="19"/>
          </p:nvPr>
        </p:nvSpPr>
        <p:spPr>
          <a:xfrm>
            <a:off x="4358858" y="1870075"/>
            <a:ext cx="2603500" cy="485775"/>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0" name="Text Placeholder 2">
            <a:extLst>
              <a:ext uri="{FF2B5EF4-FFF2-40B4-BE49-F238E27FC236}">
                <a16:creationId xmlns:a16="http://schemas.microsoft.com/office/drawing/2014/main" id="{8F6C0358-B85F-6E44-A9CD-2F332E6CD4B9}"/>
              </a:ext>
            </a:extLst>
          </p:cNvPr>
          <p:cNvSpPr>
            <a:spLocks noGrp="1"/>
          </p:cNvSpPr>
          <p:nvPr>
            <p:ph type="body" sz="quarter" idx="20"/>
          </p:nvPr>
        </p:nvSpPr>
        <p:spPr>
          <a:xfrm>
            <a:off x="7679574" y="1870075"/>
            <a:ext cx="2603500" cy="485775"/>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3" name="Text Placeholder 4">
            <a:extLst>
              <a:ext uri="{FF2B5EF4-FFF2-40B4-BE49-F238E27FC236}">
                <a16:creationId xmlns:a16="http://schemas.microsoft.com/office/drawing/2014/main" id="{7E4F1039-CF58-6A43-BB44-5674AA4F98B6}"/>
              </a:ext>
            </a:extLst>
          </p:cNvPr>
          <p:cNvSpPr>
            <a:spLocks noGrp="1"/>
          </p:cNvSpPr>
          <p:nvPr>
            <p:ph type="body" sz="quarter" idx="21"/>
          </p:nvPr>
        </p:nvSpPr>
        <p:spPr>
          <a:xfrm>
            <a:off x="964995" y="2569860"/>
            <a:ext cx="2605088" cy="3214687"/>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4" name="Text Placeholder 4">
            <a:extLst>
              <a:ext uri="{FF2B5EF4-FFF2-40B4-BE49-F238E27FC236}">
                <a16:creationId xmlns:a16="http://schemas.microsoft.com/office/drawing/2014/main" id="{F69411A7-265F-C24E-8A73-1D09829D496C}"/>
              </a:ext>
            </a:extLst>
          </p:cNvPr>
          <p:cNvSpPr>
            <a:spLocks noGrp="1"/>
          </p:cNvSpPr>
          <p:nvPr>
            <p:ph type="body" sz="quarter" idx="22"/>
          </p:nvPr>
        </p:nvSpPr>
        <p:spPr>
          <a:xfrm>
            <a:off x="4367594" y="2582800"/>
            <a:ext cx="2605088" cy="3214687"/>
          </a:xfrm>
        </p:spPr>
        <p:txBody>
          <a:bodyPr/>
          <a:lstStyle>
            <a:lvl1pPr marL="0" indent="0" defTabSz="91440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5" name="Text Placeholder 4">
            <a:extLst>
              <a:ext uri="{FF2B5EF4-FFF2-40B4-BE49-F238E27FC236}">
                <a16:creationId xmlns:a16="http://schemas.microsoft.com/office/drawing/2014/main" id="{4D589452-3E57-D440-9FB0-6E4868DB139E}"/>
              </a:ext>
            </a:extLst>
          </p:cNvPr>
          <p:cNvSpPr>
            <a:spLocks noGrp="1"/>
          </p:cNvSpPr>
          <p:nvPr>
            <p:ph type="body" sz="quarter" idx="23"/>
          </p:nvPr>
        </p:nvSpPr>
        <p:spPr>
          <a:xfrm>
            <a:off x="7672268" y="2582800"/>
            <a:ext cx="2605088" cy="3214687"/>
          </a:xfrm>
        </p:spPr>
        <p:txBody>
          <a:bodyPr/>
          <a:lstStyle>
            <a:lvl1pPr marL="0" indent="0" defTabSz="91440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6" name="Text Placeholder 4">
            <a:extLst>
              <a:ext uri="{FF2B5EF4-FFF2-40B4-BE49-F238E27FC236}">
                <a16:creationId xmlns:a16="http://schemas.microsoft.com/office/drawing/2014/main" id="{B4D1912F-14CA-384D-A430-5E9D99E3206C}"/>
              </a:ext>
            </a:extLst>
          </p:cNvPr>
          <p:cNvSpPr>
            <a:spLocks noGrp="1"/>
          </p:cNvSpPr>
          <p:nvPr>
            <p:ph type="body" sz="quarter" idx="24"/>
          </p:nvPr>
        </p:nvSpPr>
        <p:spPr>
          <a:xfrm>
            <a:off x="11025068" y="2582800"/>
            <a:ext cx="2605088" cy="3214687"/>
          </a:xfrm>
        </p:spPr>
        <p:txBody>
          <a:bodyPr/>
          <a:lstStyle>
            <a:lvl1pPr marL="0" indent="0" defTabSz="91440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7" name="Text Placeholder 2">
            <a:extLst>
              <a:ext uri="{FF2B5EF4-FFF2-40B4-BE49-F238E27FC236}">
                <a16:creationId xmlns:a16="http://schemas.microsoft.com/office/drawing/2014/main" id="{57F6A302-A023-0448-9894-EF9B860FE511}"/>
              </a:ext>
            </a:extLst>
          </p:cNvPr>
          <p:cNvSpPr>
            <a:spLocks noGrp="1"/>
          </p:cNvSpPr>
          <p:nvPr>
            <p:ph type="body" sz="quarter" idx="25"/>
          </p:nvPr>
        </p:nvSpPr>
        <p:spPr>
          <a:xfrm>
            <a:off x="11025068" y="1870075"/>
            <a:ext cx="2603500" cy="485775"/>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Tree>
    <p:extLst>
      <p:ext uri="{BB962C8B-B14F-4D97-AF65-F5344CB8AC3E}">
        <p14:creationId xmlns:p14="http://schemas.microsoft.com/office/powerpoint/2010/main" val="1962539205"/>
      </p:ext>
    </p:extLst>
  </p:cSld>
  <p:clrMapOvr>
    <a:masterClrMapping/>
  </p:clrMapOvr>
  <p:transition>
    <p:fade/>
  </p:transition>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3" y="2186939"/>
            <a:ext cx="3352249" cy="53378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5" y="2186941"/>
            <a:ext cx="3354703"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870961" y="2186941"/>
            <a:ext cx="3352250"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10925176" y="2186941"/>
            <a:ext cx="3354704" cy="533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89561358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350522" y="1567818"/>
            <a:ext cx="3348990" cy="2289809"/>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870960" y="1567818"/>
            <a:ext cx="3354706" cy="2287903"/>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7399020" y="1567816"/>
            <a:ext cx="3354706" cy="2289810"/>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10925176" y="1567815"/>
            <a:ext cx="3359868" cy="2287906"/>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346712" y="4029076"/>
            <a:ext cx="334899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879738" y="4029076"/>
            <a:ext cx="3355387"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7410385" y="4029076"/>
            <a:ext cx="3355387"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10925176" y="4029076"/>
            <a:ext cx="3360960" cy="3503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575966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3" y="2197553"/>
            <a:ext cx="3352249" cy="2272666"/>
          </a:xfrm>
        </p:spPr>
        <p:txBody>
          <a:bodyPr/>
          <a:lstStyle>
            <a:lvl1pPr>
              <a:defRPr sz="1680"/>
            </a:lvl1pPr>
            <a:lvl2pPr>
              <a:defRPr sz="1680"/>
            </a:lvl2pPr>
            <a:lvl3pPr>
              <a:defRPr sz="1440"/>
            </a:lvl3pPr>
            <a:lvl4pPr>
              <a:defRPr sz="3840"/>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7399023" y="2197553"/>
            <a:ext cx="3352250"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870962" y="2197553"/>
            <a:ext cx="3364230" cy="2272666"/>
          </a:xfrm>
        </p:spPr>
        <p:txBody>
          <a:bodyPr/>
          <a:lstStyle>
            <a:lvl1pPr>
              <a:defRPr sz="1680"/>
            </a:lvl1pPr>
            <a:lvl2pPr>
              <a:defRPr sz="1680"/>
            </a:lvl2pPr>
            <a:lvl3pPr>
              <a:defRPr sz="1440"/>
            </a:lvl3pPr>
            <a:lvl4pPr>
              <a:defRPr lang="en-GB" sz="3840" b="0" i="0" kern="1200" dirty="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10927084" y="2197553"/>
            <a:ext cx="3352796"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347263" y="4646295"/>
            <a:ext cx="3352249" cy="2272664"/>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7399021" y="4646294"/>
            <a:ext cx="3354706"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870961" y="4646295"/>
            <a:ext cx="3354706" cy="2272664"/>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10925176" y="4646294"/>
            <a:ext cx="3354704" cy="2272666"/>
          </a:xfrm>
        </p:spPr>
        <p:txBody>
          <a:bodyPr/>
          <a:lstStyle>
            <a:lvl1pPr>
              <a:defRPr sz="1680"/>
            </a:lvl1pPr>
            <a:lvl2pPr>
              <a:defRPr sz="1680"/>
            </a:lvl2pPr>
            <a:lvl3pPr>
              <a:defRPr sz="1440"/>
            </a:lvl3pPr>
            <a:lvl4pPr>
              <a:defRPr lang="en-GB" sz="3840" b="0" i="0" kern="1200">
                <a:solidFill>
                  <a:schemeClr val="tx2"/>
                </a:solidFill>
                <a:latin typeface="Johnson Display" pitchFamily="2" charset="77"/>
                <a:ea typeface="+mn-ea"/>
                <a:cs typeface="+mn-cs"/>
              </a:defRPr>
            </a:lvl4pPr>
            <a:lvl5pPr>
              <a:defRPr sz="7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190362992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347261" y="1567818"/>
            <a:ext cx="6878404" cy="59569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7399022" y="1567816"/>
            <a:ext cx="6884670" cy="5956934"/>
          </a:xfrm>
          <a:solidFill>
            <a:schemeClr val="bg1"/>
          </a:solidFill>
        </p:spPr>
        <p:txBody>
          <a:bodyPr/>
          <a:lstStyle/>
          <a:p>
            <a:r>
              <a:rPr lang="en-US" dirty="0"/>
              <a:t>Click icon to add chart</a:t>
            </a:r>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p:nvPr>
        </p:nvSpPr>
        <p:spPr>
          <a:xfrm>
            <a:off x="12100561" y="396240"/>
            <a:ext cx="2179320" cy="1009651"/>
          </a:xfrm>
        </p:spPr>
        <p:txBody>
          <a:bodyPr/>
          <a:lstStyle>
            <a:lvl1pPr>
              <a:spcBef>
                <a:spcPts val="0"/>
              </a:spcBef>
              <a:spcAft>
                <a:spcPts val="360"/>
              </a:spcAft>
              <a:defRPr sz="960" b="0" i="0">
                <a:latin typeface="+mn-lt"/>
              </a:defRPr>
            </a:lvl1pPr>
            <a:lvl2pPr marL="112392" indent="-112392">
              <a:spcBef>
                <a:spcPts val="0"/>
              </a:spcBef>
              <a:spcAft>
                <a:spcPts val="360"/>
              </a:spcAft>
              <a:tabLst/>
              <a:defRPr sz="960" b="0" i="0">
                <a:latin typeface="+mn-lt"/>
              </a:defRPr>
            </a:lvl2pPr>
            <a:lvl3pPr marL="215257" indent="-102866">
              <a:spcBef>
                <a:spcPts val="0"/>
              </a:spcBef>
              <a:spcAft>
                <a:spcPts val="360"/>
              </a:spcAft>
              <a:tabLst/>
              <a:defRPr sz="960" b="0" i="0">
                <a:latin typeface="+mn-lt"/>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305533388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9749046"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350520" y="1567815"/>
            <a:ext cx="4524376" cy="4733924"/>
          </a:xfrm>
          <a:solidFill>
            <a:schemeClr val="bg1"/>
          </a:solidFill>
        </p:spPr>
        <p:txBody>
          <a:bodyPr/>
          <a:lstStyle/>
          <a:p>
            <a:r>
              <a:rPr lang="en-US" dirty="0"/>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p:nvPr>
        </p:nvSpPr>
        <p:spPr>
          <a:xfrm>
            <a:off x="349777" y="6473190"/>
            <a:ext cx="452512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5048250" y="1567817"/>
            <a:ext cx="4530091" cy="4733923"/>
          </a:xfrm>
          <a:solidFill>
            <a:schemeClr val="bg1"/>
          </a:solidFill>
        </p:spPr>
        <p:txBody>
          <a:bodyPr/>
          <a:lstStyle/>
          <a:p>
            <a:r>
              <a:rPr lang="en-US" dirty="0"/>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p:nvPr>
        </p:nvSpPr>
        <p:spPr>
          <a:xfrm>
            <a:off x="5048250" y="6473190"/>
            <a:ext cx="453009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9749790" y="1567815"/>
            <a:ext cx="4524376" cy="4733924"/>
          </a:xfrm>
          <a:solidFill>
            <a:schemeClr val="bg1"/>
          </a:solidFill>
        </p:spPr>
        <p:txBody>
          <a:bodyPr/>
          <a:lstStyle/>
          <a:p>
            <a:r>
              <a:rPr lang="en-US" dirty="0"/>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p:nvPr>
        </p:nvSpPr>
        <p:spPr>
          <a:xfrm>
            <a:off x="9749047" y="6473190"/>
            <a:ext cx="4525121" cy="1051560"/>
          </a:xfrm>
        </p:spPr>
        <p:txBody>
          <a:bodyPr/>
          <a:lstStyle>
            <a:lvl1pPr>
              <a:defRPr sz="1440"/>
            </a:lvl1pPr>
            <a:lvl2pPr>
              <a:defRPr sz="1440"/>
            </a:lvl2pPr>
            <a:lvl3pPr>
              <a:defRPr sz="1320"/>
            </a:lvl3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173787324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B425E56B-E4E3-AAD1-76B4-3D67B284EB4B}"/>
              </a:ext>
            </a:extLst>
          </p:cNvPr>
          <p:cNvSpPr>
            <a:spLocks noGrp="1"/>
          </p:cNvSpPr>
          <p:nvPr>
            <p:ph type="ftr" sz="quarter" idx="11"/>
          </p:nvPr>
        </p:nvSpPr>
        <p:spPr>
          <a:xfrm>
            <a:off x="1520189" y="7696200"/>
            <a:ext cx="5705476" cy="184156"/>
          </a:xfrm>
        </p:spPr>
        <p:txBody>
          <a:bodyPr/>
          <a:lstStyle/>
          <a:p>
            <a:endParaRPr lang="en-GB" dirty="0"/>
          </a:p>
        </p:txBody>
      </p:sp>
      <p:sp>
        <p:nvSpPr>
          <p:cNvPr id="9" name="Slide Number Placeholder 4">
            <a:extLst>
              <a:ext uri="{FF2B5EF4-FFF2-40B4-BE49-F238E27FC236}">
                <a16:creationId xmlns:a16="http://schemas.microsoft.com/office/drawing/2014/main" id="{703E3838-150C-B34D-4F16-CEA95E3C0B04}"/>
              </a:ext>
            </a:extLst>
          </p:cNvPr>
          <p:cNvSpPr>
            <a:spLocks noGrp="1"/>
          </p:cNvSpPr>
          <p:nvPr>
            <p:ph type="sldNum" sz="quarter" idx="12"/>
          </p:nvPr>
        </p:nvSpPr>
        <p:spPr>
          <a:xfrm>
            <a:off x="13277851" y="7696200"/>
            <a:ext cx="1005289" cy="184156"/>
          </a:xfrm>
        </p:spPr>
        <p:txBody>
          <a:bodyPr/>
          <a:lstStyle/>
          <a:p>
            <a:fld id="{AD816501-AAE5-214E-B100-00C3DC5F5E3F}" type="slidenum">
              <a:rPr lang="en-US" smtClean="0"/>
              <a:pPr/>
              <a:t>‹#›</a:t>
            </a:fld>
            <a:endParaRPr lang="en-US" dirty="0"/>
          </a:p>
        </p:txBody>
      </p:sp>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350522" y="3417570"/>
            <a:ext cx="13933170" cy="3772222"/>
          </a:xfrm>
        </p:spPr>
        <p:txBody>
          <a:bodyPr/>
          <a:lstStyle/>
          <a:p>
            <a:r>
              <a:rPr lang="en-US" dirty="0"/>
              <a:t>Click icon to add table</a:t>
            </a:r>
            <a:endParaRPr lang="en-GB" dirty="0"/>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345963" y="314720"/>
            <a:ext cx="8056246" cy="549382"/>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p:nvPr>
        </p:nvSpPr>
        <p:spPr>
          <a:xfrm>
            <a:off x="9749046"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73875205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9749790" y="352230"/>
            <a:ext cx="4533900"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345963" y="314720"/>
            <a:ext cx="8056246" cy="549382"/>
          </a:xfrm>
        </p:spPr>
        <p:txBody>
          <a:bodyPr/>
          <a:lstStyle/>
          <a:p>
            <a:r>
              <a:rPr lang="en-US"/>
              <a:t>Click to edit Master title style</a:t>
            </a:r>
            <a:endParaRPr lang="en-GB" dirty="0"/>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190539974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15D6A6F-0428-2EB9-8170-122B4D25678A}"/>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48315688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4630400" cy="8229600"/>
          </a:xfrm>
          <a:solidFill>
            <a:srgbClr val="F6F3F2"/>
          </a:solidFill>
        </p:spPr>
        <p:txBody>
          <a:bodyPr vert="horz" lIns="0" tIns="0" rIns="0" bIns="0" rtlCol="0" anchor="ctr">
            <a:noAutofit/>
          </a:bodyPr>
          <a:lstStyle>
            <a:lvl1pPr algn="ct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37160" y="7315200"/>
            <a:ext cx="1211580" cy="79248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80" b="0" i="0" dirty="0">
              <a:latin typeface="Johnson Text" pitchFamily="2" charset="77"/>
            </a:endParaRPr>
          </a:p>
        </p:txBody>
      </p:sp>
      <p:sp>
        <p:nvSpPr>
          <p:cNvPr id="3" name="Title 2">
            <a:extLst>
              <a:ext uri="{FF2B5EF4-FFF2-40B4-BE49-F238E27FC236}">
                <a16:creationId xmlns:a16="http://schemas.microsoft.com/office/drawing/2014/main" id="{10079C00-CC52-F9ED-ED36-A8FC0573506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345963" y="856345"/>
            <a:ext cx="11579334"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396170093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870960" y="0"/>
            <a:ext cx="10759440" cy="82296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3" y="2806065"/>
            <a:ext cx="3352249"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345966" y="315360"/>
            <a:ext cx="3352249" cy="1648144"/>
          </a:xfrm>
        </p:spPr>
        <p:txBody>
          <a:bodyPr/>
          <a:lstStyle/>
          <a:p>
            <a:r>
              <a:rPr lang="en-US"/>
              <a:t>Click to edit Master title style</a:t>
            </a:r>
            <a:endParaRPr lang="en-GB" dirty="0"/>
          </a:p>
        </p:txBody>
      </p:sp>
    </p:spTree>
    <p:extLst>
      <p:ext uri="{BB962C8B-B14F-4D97-AF65-F5344CB8AC3E}">
        <p14:creationId xmlns:p14="http://schemas.microsoft.com/office/powerpoint/2010/main" val="35140712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55497"/>
            <a:ext cx="4211320" cy="5003610"/>
          </a:xfrm>
          <a:noFill/>
        </p:spPr>
        <p:txBody>
          <a:bodyPr/>
          <a:lstStyle>
            <a:lvl1pPr marL="0" indent="0">
              <a:buNone/>
              <a:defRPr sz="2400"/>
            </a:lvl1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1" y="2055497"/>
            <a:ext cx="4211320" cy="5003610"/>
          </a:xfrm>
          <a:noFill/>
        </p:spPr>
        <p:txBody>
          <a:bodyPr anchor="t"/>
          <a:lstStyle>
            <a:lvl1pPr marL="0" indent="0">
              <a:buNone/>
              <a:defRPr sz="2400"/>
            </a:lvl1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1" y="2055497"/>
            <a:ext cx="4211320" cy="5003610"/>
          </a:xfrm>
          <a:noFill/>
        </p:spPr>
        <p:txBody>
          <a:bodyPr/>
          <a:lstStyle>
            <a:lvl1pPr marL="0" indent="0">
              <a:buNone/>
              <a:defRPr sz="2400"/>
            </a:lvl1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438EE667-2F4C-514E-9DE6-F69F8D6309A2}"/>
              </a:ext>
            </a:extLst>
          </p:cNvPr>
          <p:cNvSpPr>
            <a:spLocks noGrp="1"/>
          </p:cNvSpPr>
          <p:nvPr>
            <p:ph type="body" sz="quarter" idx="21"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2BBFA237-3D8D-F54C-9FB5-A168612D87BE}"/>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spTree>
  </p:cSld>
  <p:clrMapOvr>
    <a:masterClrMapping/>
  </p:clrMapOvr>
  <p:transition>
    <p:fade/>
  </p:transition>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7" y="0"/>
            <a:ext cx="7225662" cy="82296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345964" y="856345"/>
            <a:ext cx="6878404"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345964" y="314720"/>
            <a:ext cx="6878402" cy="562308"/>
          </a:xfrm>
        </p:spPr>
        <p:txBody>
          <a:bodyPr/>
          <a:lstStyle/>
          <a:p>
            <a:r>
              <a:rPr lang="en-GB" dirty="0"/>
              <a:t>Master title style</a:t>
            </a:r>
          </a:p>
        </p:txBody>
      </p:sp>
    </p:spTree>
    <p:extLst>
      <p:ext uri="{BB962C8B-B14F-4D97-AF65-F5344CB8AC3E}">
        <p14:creationId xmlns:p14="http://schemas.microsoft.com/office/powerpoint/2010/main" val="14208948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2" y="0"/>
            <a:ext cx="7225662" cy="82296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37160" y="7315200"/>
            <a:ext cx="1211580" cy="79248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80" b="0" i="0" dirty="0">
              <a:latin typeface="Johnson Text" pitchFamily="2" charset="77"/>
            </a:endParaRP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7586111" y="5252087"/>
            <a:ext cx="6697027" cy="2272663"/>
          </a:xfrm>
        </p:spPr>
        <p:txBody>
          <a:bodyPr/>
          <a:lstStyle>
            <a:lvl4pPr>
              <a:defRPr sz="60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7588558" y="335430"/>
            <a:ext cx="6694580" cy="3279667"/>
          </a:xfrm>
        </p:spPr>
        <p:txBody>
          <a:bodyPr/>
          <a:lstStyle>
            <a:lvl1pPr>
              <a:lnSpc>
                <a:spcPct val="80000"/>
              </a:lnSpc>
              <a:defRPr sz="8880"/>
            </a:lvl1pPr>
          </a:lstStyle>
          <a:p>
            <a:r>
              <a:rPr lang="en-US"/>
              <a:t>Click to edit Master title style</a:t>
            </a:r>
            <a:endParaRPr lang="en-US" dirty="0"/>
          </a:p>
        </p:txBody>
      </p:sp>
    </p:spTree>
    <p:extLst>
      <p:ext uri="{BB962C8B-B14F-4D97-AF65-F5344CB8AC3E}">
        <p14:creationId xmlns:p14="http://schemas.microsoft.com/office/powerpoint/2010/main" val="343437064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7" y="0"/>
            <a:ext cx="7225662" cy="41148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7404737" y="4114800"/>
            <a:ext cx="7225662" cy="41148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345964" y="315361"/>
            <a:ext cx="6879702" cy="554230"/>
          </a:xfrm>
        </p:spPr>
        <p:txBody>
          <a:bodyPr/>
          <a:lstStyle/>
          <a:p>
            <a:r>
              <a:rPr lang="en-US" dirty="0"/>
              <a:t>Master title style</a:t>
            </a:r>
            <a:endParaRPr lang="en-GB" dirty="0"/>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345964" y="856345"/>
            <a:ext cx="6878404"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323290912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404739" y="0"/>
            <a:ext cx="3612833" cy="41148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7404737" y="4114800"/>
            <a:ext cx="7225662" cy="411480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11017568" y="0"/>
            <a:ext cx="3612833" cy="4114800"/>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345964" y="315361"/>
            <a:ext cx="6879702" cy="554230"/>
          </a:xfrm>
        </p:spPr>
        <p:txBody>
          <a:bodyPr/>
          <a:lstStyle/>
          <a:p>
            <a:r>
              <a:rPr lang="en-US" dirty="0"/>
              <a:t>Master title style</a:t>
            </a:r>
            <a:endParaRPr lang="en-GB" dirty="0"/>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345964" y="856345"/>
            <a:ext cx="6878404"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27580733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7399022" y="2806066"/>
            <a:ext cx="6880861" cy="4718682"/>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2100561"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2" indent="-112392">
              <a:spcBef>
                <a:spcPts val="0"/>
              </a:spcBef>
              <a:spcAft>
                <a:spcPts val="360"/>
              </a:spcAft>
              <a:tabLst/>
              <a:defRPr lang="en-GB" sz="1200" b="0" i="0" kern="1200" dirty="0">
                <a:solidFill>
                  <a:schemeClr val="tx1"/>
                </a:solidFill>
                <a:latin typeface="+mn-lt"/>
                <a:ea typeface="+mn-ea"/>
                <a:cs typeface="+mn-cs"/>
              </a:defRPr>
            </a:lvl2pPr>
            <a:lvl3pPr marL="215257" indent="-102866">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345965" y="314720"/>
            <a:ext cx="10407016" cy="549382"/>
          </a:xfrm>
        </p:spPr>
        <p:txBody>
          <a:bodyPr/>
          <a:lstStyle/>
          <a:p>
            <a:r>
              <a:rPr lang="en-US"/>
              <a:t>Click to edit Master title style</a:t>
            </a:r>
            <a:endParaRPr lang="en-GB" dirty="0"/>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345963" y="856345"/>
            <a:ext cx="1040701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405552823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10925175" y="2806065"/>
            <a:ext cx="3354706" cy="4718684"/>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1" y="2806065"/>
            <a:ext cx="6878404"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0925176"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2" indent="-112392">
              <a:spcBef>
                <a:spcPts val="0"/>
              </a:spcBef>
              <a:spcAft>
                <a:spcPts val="360"/>
              </a:spcAft>
              <a:tabLst/>
              <a:defRPr lang="en-GB" sz="1200" b="0" i="0" kern="1200" dirty="0">
                <a:solidFill>
                  <a:schemeClr val="tx1"/>
                </a:solidFill>
                <a:latin typeface="+mn-lt"/>
                <a:ea typeface="+mn-ea"/>
                <a:cs typeface="+mn-cs"/>
              </a:defRPr>
            </a:lvl2pPr>
            <a:lvl3pPr marL="215257" indent="-102866">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7399022" y="2806065"/>
            <a:ext cx="3360421" cy="4718684"/>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7399020" y="1567816"/>
            <a:ext cx="2179320" cy="1085850"/>
          </a:xfrm>
        </p:spPr>
        <p:txBody>
          <a:bodyPr anchor="b"/>
          <a:lstStyle>
            <a:lvl1pPr>
              <a:spcBef>
                <a:spcPts val="0"/>
              </a:spcBef>
              <a:spcAft>
                <a:spcPts val="360"/>
              </a:spcAft>
              <a:defRPr lang="en-GB" sz="1200" b="0" i="0" kern="1200" dirty="0">
                <a:solidFill>
                  <a:schemeClr val="tx1"/>
                </a:solidFill>
                <a:latin typeface="+mn-lt"/>
                <a:ea typeface="+mn-ea"/>
                <a:cs typeface="+mn-cs"/>
              </a:defRPr>
            </a:lvl1pPr>
            <a:lvl2pPr marL="112392" indent="-112392">
              <a:spcBef>
                <a:spcPts val="0"/>
              </a:spcBef>
              <a:spcAft>
                <a:spcPts val="360"/>
              </a:spcAft>
              <a:tabLst/>
              <a:defRPr lang="en-GB" sz="1200" b="0" i="0" kern="1200" dirty="0">
                <a:solidFill>
                  <a:schemeClr val="tx1"/>
                </a:solidFill>
                <a:latin typeface="+mn-lt"/>
                <a:ea typeface="+mn-ea"/>
                <a:cs typeface="+mn-cs"/>
              </a:defRPr>
            </a:lvl2pPr>
            <a:lvl3pPr marL="215257" indent="-102866">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345964" y="315361"/>
            <a:ext cx="10407762" cy="554230"/>
          </a:xfrm>
        </p:spPr>
        <p:txBody>
          <a:bodyPr/>
          <a:lstStyle/>
          <a:p>
            <a:r>
              <a:rPr lang="en-US" dirty="0"/>
              <a:t>Master title style</a:t>
            </a:r>
            <a:endParaRPr lang="en-GB" dirty="0"/>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345962" y="856345"/>
            <a:ext cx="10405798"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113886548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749790" y="349246"/>
            <a:ext cx="4530091" cy="3506474"/>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347262" y="2806065"/>
            <a:ext cx="5700506" cy="4718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7399022" y="316231"/>
            <a:ext cx="2179319" cy="1082040"/>
          </a:xfrm>
        </p:spPr>
        <p:txBody>
          <a:bodyPr/>
          <a:lstStyle>
            <a:lvl1pPr>
              <a:spcBef>
                <a:spcPts val="0"/>
              </a:spcBef>
              <a:spcAft>
                <a:spcPts val="360"/>
              </a:spcAft>
              <a:defRPr lang="en-GB" sz="1200" b="0" i="0" kern="1200" dirty="0">
                <a:solidFill>
                  <a:schemeClr val="tx1"/>
                </a:solidFill>
                <a:latin typeface="+mn-lt"/>
                <a:ea typeface="+mn-ea"/>
                <a:cs typeface="+mn-cs"/>
              </a:defRPr>
            </a:lvl1pPr>
            <a:lvl2pPr marL="112392" indent="-112392">
              <a:spcBef>
                <a:spcPts val="0"/>
              </a:spcBef>
              <a:spcAft>
                <a:spcPts val="360"/>
              </a:spcAft>
              <a:tabLst/>
              <a:defRPr lang="en-GB" sz="1200" b="0" i="0" kern="1200" dirty="0">
                <a:solidFill>
                  <a:schemeClr val="tx1"/>
                </a:solidFill>
                <a:latin typeface="+mn-lt"/>
                <a:ea typeface="+mn-ea"/>
                <a:cs typeface="+mn-cs"/>
              </a:defRPr>
            </a:lvl2pPr>
            <a:lvl3pPr marL="215257" indent="-102866">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9749790" y="4029077"/>
            <a:ext cx="4530091" cy="3495674"/>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p:nvPr>
        </p:nvSpPr>
        <p:spPr>
          <a:xfrm>
            <a:off x="7404737" y="4001133"/>
            <a:ext cx="2173602" cy="1085850"/>
          </a:xfrm>
        </p:spPr>
        <p:txBody>
          <a:bodyPr/>
          <a:lstStyle>
            <a:lvl1pPr>
              <a:spcBef>
                <a:spcPts val="0"/>
              </a:spcBef>
              <a:spcAft>
                <a:spcPts val="360"/>
              </a:spcAft>
              <a:defRPr lang="en-GB" sz="1200" b="0" i="0" kern="1200" dirty="0">
                <a:solidFill>
                  <a:schemeClr val="tx1"/>
                </a:solidFill>
                <a:latin typeface="+mn-lt"/>
                <a:ea typeface="+mn-ea"/>
                <a:cs typeface="+mn-cs"/>
              </a:defRPr>
            </a:lvl1pPr>
            <a:lvl2pPr marL="112392" indent="-112392">
              <a:spcBef>
                <a:spcPts val="0"/>
              </a:spcBef>
              <a:spcAft>
                <a:spcPts val="360"/>
              </a:spcAft>
              <a:tabLst/>
              <a:defRPr lang="en-GB" sz="1200" b="0" i="0" kern="1200" dirty="0">
                <a:solidFill>
                  <a:schemeClr val="tx1"/>
                </a:solidFill>
                <a:latin typeface="+mn-lt"/>
                <a:ea typeface="+mn-ea"/>
                <a:cs typeface="+mn-cs"/>
              </a:defRPr>
            </a:lvl2pPr>
            <a:lvl3pPr marL="215257" indent="-102866">
              <a:spcBef>
                <a:spcPts val="0"/>
              </a:spcBef>
              <a:spcAft>
                <a:spcPts val="360"/>
              </a:spcAft>
              <a:tabLst/>
              <a:defRPr lang="en-GB" sz="1200" b="0" i="0" kern="1200" dirty="0">
                <a:solidFill>
                  <a:schemeClr val="tx1"/>
                </a:solidFill>
                <a:latin typeface="+mn-lt"/>
                <a:ea typeface="+mn-ea"/>
                <a:cs typeface="+mn-cs"/>
              </a:defRPr>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345966" y="315361"/>
            <a:ext cx="5700505" cy="554230"/>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345964" y="856345"/>
            <a:ext cx="5700505"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97179577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8580122" y="-1"/>
            <a:ext cx="6050280" cy="402907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4029076"/>
            <a:ext cx="7227062" cy="419994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8580123" y="5252086"/>
            <a:ext cx="5705474" cy="2272664"/>
          </a:xfrm>
        </p:spPr>
        <p:txBody>
          <a:bodyPr/>
          <a:lstStyle>
            <a:lvl4pPr>
              <a:defRPr lang="en-GB" sz="4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345600" y="636311"/>
            <a:ext cx="5705476" cy="2925108"/>
          </a:xfrm>
        </p:spPr>
        <p:txBody>
          <a:bodyPr anchor="ctr">
            <a:spAutoFit/>
          </a:bodyPr>
          <a:lstStyle>
            <a:lvl1pPr>
              <a:lnSpc>
                <a:spcPct val="80000"/>
              </a:lnSpc>
              <a:defRPr sz="7800">
                <a:solidFill>
                  <a:schemeClr val="tx2"/>
                </a:solidFill>
              </a:defRPr>
            </a:lvl1pPr>
          </a:lstStyle>
          <a:p>
            <a:r>
              <a:rPr lang="en-US"/>
              <a:t>Click to edit Master title style</a:t>
            </a:r>
            <a:endParaRPr lang="en-GB" dirty="0"/>
          </a:p>
        </p:txBody>
      </p:sp>
    </p:spTree>
    <p:extLst>
      <p:ext uri="{BB962C8B-B14F-4D97-AF65-F5344CB8AC3E}">
        <p14:creationId xmlns:p14="http://schemas.microsoft.com/office/powerpoint/2010/main" val="147475547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6050280" cy="402907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7399020" y="4029076"/>
            <a:ext cx="7227062" cy="419994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344806" y="5252086"/>
            <a:ext cx="5705474" cy="2272664"/>
          </a:xfrm>
        </p:spPr>
        <p:txBody>
          <a:bodyPr/>
          <a:lstStyle>
            <a:lvl4pPr>
              <a:defRPr lang="en-GB" sz="4800" dirty="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7399020" y="636311"/>
            <a:ext cx="5705476" cy="2925108"/>
          </a:xfrm>
        </p:spPr>
        <p:txBody>
          <a:bodyPr anchor="ctr">
            <a:spAutoFit/>
          </a:bodyPr>
          <a:lstStyle>
            <a:lvl1pPr>
              <a:lnSpc>
                <a:spcPct val="80000"/>
              </a:lnSpc>
              <a:defRPr sz="7800">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75838921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4029075"/>
            <a:ext cx="4983480" cy="420052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983480" y="1"/>
            <a:ext cx="4694474" cy="8229022"/>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10925176" y="5252086"/>
            <a:ext cx="3354704" cy="2272664"/>
          </a:xfrm>
        </p:spPr>
        <p:txBody>
          <a:bodyPr/>
          <a:lstStyle>
            <a:lvl4pPr>
              <a:defRPr sz="48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9677955" y="0"/>
            <a:ext cx="4937207" cy="4029076"/>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345601" y="836295"/>
            <a:ext cx="4525121" cy="2119042"/>
          </a:xfrm>
        </p:spPr>
        <p:txBody>
          <a:bodyPr/>
          <a:lstStyle>
            <a:lvl1pPr>
              <a:defRPr sz="5400"/>
            </a:lvl1pPr>
          </a:lstStyle>
          <a:p>
            <a:r>
              <a:rPr lang="en-US"/>
              <a:t>Click to edit Master title style</a:t>
            </a:r>
            <a:endParaRPr lang="en-GB" dirty="0"/>
          </a:p>
        </p:txBody>
      </p:sp>
    </p:spTree>
    <p:extLst>
      <p:ext uri="{BB962C8B-B14F-4D97-AF65-F5344CB8AC3E}">
        <p14:creationId xmlns:p14="http://schemas.microsoft.com/office/powerpoint/2010/main" val="10757690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 columns 1x3 wht">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92554"/>
            <a:ext cx="4211320" cy="2798832"/>
          </a:xfrm>
          <a:solidFill>
            <a:schemeClr val="bg1"/>
          </a:solidFill>
          <a:ln>
            <a:noFill/>
          </a:ln>
        </p:spPr>
        <p:txBody>
          <a:bodyPr/>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1" y="2092553"/>
            <a:ext cx="4211320" cy="2798831"/>
          </a:xfrm>
          <a:solidFill>
            <a:schemeClr val="bg1"/>
          </a:solidFill>
          <a:ln>
            <a:noFill/>
          </a:ln>
        </p:spPr>
        <p:txBody>
          <a:bodyPr anchor="t"/>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1" y="2092554"/>
            <a:ext cx="4211320" cy="2798832"/>
          </a:xfrm>
          <a:solidFill>
            <a:schemeClr val="bg1"/>
          </a:solidFill>
          <a:ln>
            <a:noFill/>
          </a:ln>
        </p:spPr>
        <p:txBody>
          <a:bodyPr/>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D16FFE8E-339D-0F4B-9419-5DB052A78E3B}"/>
              </a:ext>
            </a:extLst>
          </p:cNvPr>
          <p:cNvSpPr>
            <a:spLocks noGrp="1"/>
          </p:cNvSpPr>
          <p:nvPr>
            <p:ph type="body" sz="quarter" idx="21"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00000"/>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321AC04F-7228-2D40-90FB-B273CB8C5AB6}"/>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sp>
        <p:nvSpPr>
          <p:cNvPr id="3" name="Text Placeholder 2">
            <a:extLst>
              <a:ext uri="{FF2B5EF4-FFF2-40B4-BE49-F238E27FC236}">
                <a16:creationId xmlns:a16="http://schemas.microsoft.com/office/drawing/2014/main" id="{340B2714-83A7-BB46-9D36-05FB92B16BBF}"/>
              </a:ext>
            </a:extLst>
          </p:cNvPr>
          <p:cNvSpPr>
            <a:spLocks noGrp="1"/>
          </p:cNvSpPr>
          <p:nvPr>
            <p:ph type="body" sz="quarter" idx="22"/>
          </p:nvPr>
        </p:nvSpPr>
        <p:spPr>
          <a:xfrm>
            <a:off x="720725" y="5083860"/>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C6F4DF9C-6A5A-5141-A4C8-0DF45E3D9E10}"/>
              </a:ext>
            </a:extLst>
          </p:cNvPr>
          <p:cNvSpPr>
            <a:spLocks noGrp="1"/>
          </p:cNvSpPr>
          <p:nvPr>
            <p:ph type="body" sz="quarter" idx="23"/>
          </p:nvPr>
        </p:nvSpPr>
        <p:spPr>
          <a:xfrm>
            <a:off x="5192712" y="5083860"/>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7BCD16B9-CCE5-5F41-B9C5-5E81442329C0}"/>
              </a:ext>
            </a:extLst>
          </p:cNvPr>
          <p:cNvSpPr>
            <a:spLocks noGrp="1"/>
          </p:cNvSpPr>
          <p:nvPr>
            <p:ph type="body" sz="quarter" idx="24"/>
          </p:nvPr>
        </p:nvSpPr>
        <p:spPr>
          <a:xfrm>
            <a:off x="9650412" y="5083860"/>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7882814"/>
      </p:ext>
    </p:extLst>
  </p:cSld>
  <p:clrMapOvr>
    <a:masterClrMapping/>
  </p:clrMapOvr>
  <p:transition>
    <p:fade/>
  </p:transition>
  <p:hf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D816501-AAE5-214E-B100-00C3DC5F5E3F}" type="slidenum">
              <a:rPr lang="en-US" smtClean="0"/>
              <a:pPr/>
              <a:t>‹#›</a:t>
            </a:fld>
            <a:endParaRPr lang="en-US" dirty="0"/>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6050280" cy="4029076"/>
          </a:xfrm>
          <a:solidFill>
            <a:srgbClr val="F6F3F2"/>
          </a:solidFill>
        </p:spPr>
        <p:txBody>
          <a:bodyPr vert="horz" lIns="0" tIns="0" rIns="0" bIns="0" rtlCol="0">
            <a:noAutofit/>
          </a:bodyPr>
          <a:lstStyle>
            <a:lvl1pPr marL="0" marR="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7399020" y="4029076"/>
            <a:ext cx="7227062" cy="4199946"/>
          </a:xfrm>
          <a:solidFill>
            <a:srgbClr val="F6F3F2"/>
          </a:solidFill>
        </p:spPr>
        <p:txBody>
          <a:bodyPr vert="horz" lIns="0" tIns="0" rIns="0" bIns="0" rtlCol="0">
            <a:noAutofit/>
          </a:bodyPr>
          <a:lstStyle>
            <a:lvl1pPr marL="0" marR="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7399021" y="1554159"/>
            <a:ext cx="6884117" cy="1120538"/>
          </a:xfrm>
        </p:spPr>
        <p:txBody>
          <a:bodyPr wrap="square" anchor="ctr">
            <a:spAutoFit/>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520190" y="5238778"/>
            <a:ext cx="5705474" cy="1120538"/>
          </a:xfrm>
        </p:spPr>
        <p:txBody>
          <a:bodyPr wrap="square" anchor="ctr">
            <a:spAutoFit/>
          </a:bodyPr>
          <a:lstStyle>
            <a:lvl1pPr>
              <a:lnSpc>
                <a:spcPct val="80000"/>
              </a:lnSpc>
              <a:defRPr sz="888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1353562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15202" y="0"/>
            <a:ext cx="7315199" cy="8229600"/>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46712" y="6473190"/>
            <a:ext cx="3354704" cy="1051560"/>
          </a:xfrm>
        </p:spPr>
        <p:txBody>
          <a:bodyPr anchor="t"/>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p:nvPr>
        </p:nvSpPr>
        <p:spPr>
          <a:xfrm>
            <a:off x="346710" y="2806066"/>
            <a:ext cx="4533900"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345964" y="315360"/>
            <a:ext cx="6879702" cy="562308"/>
          </a:xfrm>
        </p:spPr>
        <p:txBody>
          <a:bodyPr/>
          <a:lstStyle>
            <a:lvl1pPr>
              <a:defRPr>
                <a:solidFill>
                  <a:schemeClr val="bg1"/>
                </a:solidFill>
              </a:defRPr>
            </a:lvl1pPr>
          </a:lstStyle>
          <a:p>
            <a:r>
              <a:rPr lang="en-US" dirty="0"/>
              <a:t>Master title style</a:t>
            </a:r>
            <a:endParaRPr lang="en-GB" dirty="0"/>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345964" y="856345"/>
            <a:ext cx="6879702" cy="347339"/>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dirty="0"/>
              <a:t>Subtitle goes here if required</a:t>
            </a:r>
          </a:p>
        </p:txBody>
      </p:sp>
      <p:sp>
        <p:nvSpPr>
          <p:cNvPr id="3" name="Graphic 8">
            <a:extLst>
              <a:ext uri="{FF2B5EF4-FFF2-40B4-BE49-F238E27FC236}">
                <a16:creationId xmlns:a16="http://schemas.microsoft.com/office/drawing/2014/main" id="{0256C6C6-C2B0-619B-06B6-F0B7706CD3DA}"/>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132629333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9749792" y="342189"/>
            <a:ext cx="4530090" cy="4736542"/>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9749792" y="5252086"/>
            <a:ext cx="4530090"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p:nvPr>
        </p:nvSpPr>
        <p:spPr>
          <a:xfrm>
            <a:off x="346710" y="5252086"/>
            <a:ext cx="4533900"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5049280" y="342189"/>
            <a:ext cx="4530090" cy="4736542"/>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5049280" y="5252086"/>
            <a:ext cx="4530090"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345965" y="315361"/>
            <a:ext cx="4530088" cy="554230"/>
          </a:xfrm>
        </p:spPr>
        <p:txBody>
          <a:bodyPr/>
          <a:lstStyle>
            <a:lvl1pPr>
              <a:defRPr>
                <a:solidFill>
                  <a:schemeClr val="bg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345964" y="856346"/>
            <a:ext cx="4530090" cy="347339"/>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dirty="0"/>
              <a:t>Subtitle goes here if required</a:t>
            </a:r>
          </a:p>
        </p:txBody>
      </p:sp>
      <p:sp>
        <p:nvSpPr>
          <p:cNvPr id="9" name="Graphic 8">
            <a:extLst>
              <a:ext uri="{FF2B5EF4-FFF2-40B4-BE49-F238E27FC236}">
                <a16:creationId xmlns:a16="http://schemas.microsoft.com/office/drawing/2014/main" id="{B58D846E-E0EB-4B4E-2451-D64CE997DC63}"/>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51894190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tx2"/>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93307" y="1571141"/>
            <a:ext cx="3354706" cy="350759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7393306" y="5252086"/>
            <a:ext cx="3357486"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870961" y="1571141"/>
            <a:ext cx="3354706" cy="350759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870962" y="5252086"/>
            <a:ext cx="3353677"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10943261" y="1571141"/>
            <a:ext cx="3354706" cy="3507590"/>
          </a:xfrm>
          <a:solidFill>
            <a:srgbClr val="F6F3F2"/>
          </a:solidFill>
        </p:spPr>
        <p:txBody>
          <a:bodyPr vert="horz" lIns="0" tIns="0" rIns="0" bIns="0" rtlCol="0">
            <a:noAutofit/>
          </a:bodyPr>
          <a:lstStyle>
            <a:lvl1pPr>
              <a:defRPr lang="en-GB"/>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10943260" y="5252086"/>
            <a:ext cx="3357486" cy="2272664"/>
          </a:xfrm>
        </p:spPr>
        <p:txBody>
          <a:bodyPr/>
          <a:lstStyle>
            <a:lvl1pPr>
              <a:spcBef>
                <a:spcPts val="0"/>
              </a:spcBef>
              <a:spcAft>
                <a:spcPts val="0"/>
              </a:spcAft>
              <a:defRPr lang="en-GB" sz="1680" b="1" i="0" kern="1200" dirty="0">
                <a:solidFill>
                  <a:schemeClr val="bg1"/>
                </a:solidFill>
                <a:latin typeface="Johnson Text" pitchFamily="2" charset="77"/>
                <a:ea typeface="+mn-ea"/>
                <a:cs typeface="+mn-cs"/>
              </a:defRPr>
            </a:lvl1pPr>
            <a:lvl2pPr marL="0" indent="0">
              <a:spcBef>
                <a:spcPts val="0"/>
              </a:spcBef>
              <a:spcAft>
                <a:spcPts val="0"/>
              </a:spcAft>
              <a:buNone/>
              <a:defRPr sz="1680" b="0" i="0">
                <a:solidFill>
                  <a:schemeClr val="bg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p:nvPr>
        </p:nvSpPr>
        <p:spPr>
          <a:xfrm>
            <a:off x="346712" y="5252086"/>
            <a:ext cx="3331782" cy="2272664"/>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345965" y="315360"/>
            <a:ext cx="11579335" cy="562308"/>
          </a:xfrm>
        </p:spPr>
        <p:txBody>
          <a:bodyPr/>
          <a:lstStyle>
            <a:lvl1pPr>
              <a:defRPr>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345963" y="856345"/>
            <a:ext cx="11579334" cy="347339"/>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dirty="0"/>
              <a:t>Subtitle goes here if required</a:t>
            </a:r>
          </a:p>
        </p:txBody>
      </p:sp>
      <p:sp>
        <p:nvSpPr>
          <p:cNvPr id="11" name="Footer Placeholder 10">
            <a:extLst>
              <a:ext uri="{FF2B5EF4-FFF2-40B4-BE49-F238E27FC236}">
                <a16:creationId xmlns:a16="http://schemas.microsoft.com/office/drawing/2014/main" id="{B0F98AA2-E2DC-E0E0-4C8F-760BB9A932E3}"/>
              </a:ext>
            </a:extLst>
          </p:cNvPr>
          <p:cNvSpPr>
            <a:spLocks noGrp="1"/>
          </p:cNvSpPr>
          <p:nvPr>
            <p:ph type="ftr" sz="quarter" idx="29"/>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482FD8FC-F7B2-9C6C-B17A-E86A85F913ED}"/>
              </a:ext>
            </a:extLst>
          </p:cNvPr>
          <p:cNvSpPr>
            <a:spLocks noGrp="1"/>
          </p:cNvSpPr>
          <p:nvPr>
            <p:ph type="sldNum" sz="quarter" idx="30"/>
          </p:nvPr>
        </p:nvSpPr>
        <p:spPr/>
        <p:txBody>
          <a:bodyPr/>
          <a:lstStyle>
            <a:lvl1pPr>
              <a:defRPr>
                <a:solidFill>
                  <a:schemeClr val="bg1"/>
                </a:solidFill>
              </a:defRPr>
            </a:lvl1pPr>
          </a:lstStyle>
          <a:p>
            <a:fld id="{AD816501-AAE5-214E-B100-00C3DC5F5E3F}" type="slidenum">
              <a:rPr lang="en-US" smtClean="0"/>
              <a:pPr/>
              <a:t>‹#›</a:t>
            </a:fld>
            <a:endParaRPr lang="en-US" dirty="0"/>
          </a:p>
        </p:txBody>
      </p:sp>
      <p:sp>
        <p:nvSpPr>
          <p:cNvPr id="14" name="Graphic 8">
            <a:extLst>
              <a:ext uri="{FF2B5EF4-FFF2-40B4-BE49-F238E27FC236}">
                <a16:creationId xmlns:a16="http://schemas.microsoft.com/office/drawing/2014/main" id="{39092A83-DA5A-9054-8843-290AA80FA357}"/>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333704723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7393307" y="1571141"/>
            <a:ext cx="3354706" cy="3507590"/>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7393306" y="5252086"/>
            <a:ext cx="335748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870961" y="1571141"/>
            <a:ext cx="3354706" cy="3507590"/>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870962" y="5252086"/>
            <a:ext cx="3353677"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10943261" y="1571141"/>
            <a:ext cx="3354706" cy="3507590"/>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10943260" y="5252086"/>
            <a:ext cx="335748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349775" y="1571141"/>
            <a:ext cx="3354706" cy="3507590"/>
          </a:xfrm>
          <a:solidFill>
            <a:srgbClr val="F6F3F2"/>
          </a:solidFill>
        </p:spPr>
        <p:txBody>
          <a:bodyPr vert="horz" lIns="0" tIns="0" rIns="0" bIns="0" rtlCol="0">
            <a:noAutofit/>
          </a:bodyPr>
          <a:lstStyle>
            <a:lvl1pPr>
              <a:defRPr lang="en-GB"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349776" y="5252086"/>
            <a:ext cx="3353677"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p:nvPr>
        </p:nvSpPr>
        <p:spPr>
          <a:xfrm>
            <a:off x="9750240" y="352230"/>
            <a:ext cx="4534644" cy="105366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345964" y="315360"/>
            <a:ext cx="6879702" cy="562308"/>
          </a:xfrm>
        </p:spPr>
        <p:txBody>
          <a:bodyPr/>
          <a:lstStyle>
            <a:lvl1pPr>
              <a:defRPr>
                <a:solidFill>
                  <a:schemeClr val="tx2"/>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345964" y="856345"/>
            <a:ext cx="6878675"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27903559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350520" y="2806066"/>
            <a:ext cx="2173606" cy="2272664"/>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35052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701290" y="2806066"/>
            <a:ext cx="2173606" cy="2272664"/>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70129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5048250" y="2806066"/>
            <a:ext cx="2173606" cy="2272664"/>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504825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7399020" y="2806066"/>
            <a:ext cx="2173606" cy="2272664"/>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7399020"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9755504" y="2806066"/>
            <a:ext cx="2173606" cy="2272664"/>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9755504"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2106274" y="2806066"/>
            <a:ext cx="2173606" cy="2272664"/>
          </a:xfrm>
          <a:solidFill>
            <a:srgbClr val="F6F3F2"/>
          </a:solidFill>
        </p:spPr>
        <p:txBody>
          <a:bodyPr vert="horz" lIns="0" tIns="0" rIns="0" bIns="0" rtlCol="0">
            <a:noAutofit/>
          </a:bodyPr>
          <a:lstStyle>
            <a:lvl1pPr>
              <a:defRPr lang="en-GB" sz="1440"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2106274" y="5252086"/>
            <a:ext cx="2173606" cy="2272664"/>
          </a:xfrm>
        </p:spPr>
        <p:txBody>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345965" y="315360"/>
            <a:ext cx="8053181" cy="549382"/>
          </a:xfrm>
        </p:spPr>
        <p:txBody>
          <a:bodyPr/>
          <a:lstStyle>
            <a:lvl1pPr>
              <a:defRPr>
                <a:solidFill>
                  <a:schemeClr val="tx2"/>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329371273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D816501-AAE5-214E-B100-00C3DC5F5E3F}" type="slidenum">
              <a:rPr lang="en-US" smtClean="0"/>
              <a:pPr/>
              <a:t>‹#›</a:t>
            </a:fld>
            <a:endParaRPr lang="en-US" dirty="0"/>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350520" y="1591189"/>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350520"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701290" y="1591189"/>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701290"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5048250" y="1591189"/>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5048250"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7399020" y="1591189"/>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7399020"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9755504" y="1591189"/>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9755504"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2106274" y="1591189"/>
            <a:ext cx="2172960" cy="2090830"/>
          </a:xfrm>
          <a:solidFill>
            <a:srgbClr val="F6F3F2"/>
          </a:solidFill>
        </p:spPr>
        <p:txBody>
          <a:bodyPr vert="horz" lIns="0" tIns="0" rIns="0" bIns="0" rtlCol="0">
            <a:noAutofit/>
          </a:bodyPr>
          <a:lstStyle>
            <a:lvl1pPr>
              <a:defRPr lang="en-GB" sz="1440"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2106274" y="3759753"/>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9749046" y="354242"/>
            <a:ext cx="4534644" cy="1051650"/>
          </a:xfrm>
        </p:spPr>
        <p:txBody>
          <a:bodyPr/>
          <a:lstStyle>
            <a:lvl1pPr>
              <a:defRPr sz="1680"/>
            </a:lvl1pPr>
            <a:lvl2pPr>
              <a:defRPr sz="1680"/>
            </a:lvl2pPr>
            <a:lvl3pPr>
              <a:defRPr sz="1440"/>
            </a:lvl3pPr>
          </a:lstStyle>
          <a:p>
            <a:pPr lvl="0"/>
            <a:r>
              <a:rPr lang="en-US"/>
              <a:t>Click to edit Master text styles</a:t>
            </a:r>
          </a:p>
          <a:p>
            <a:pPr lvl="1"/>
            <a:r>
              <a:rPr lang="en-US"/>
              <a:t>Second level</a:t>
            </a:r>
          </a:p>
          <a:p>
            <a:pPr lvl="2"/>
            <a:r>
              <a:rPr lang="en-US"/>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350520" y="4599583"/>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350520"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701290" y="4599583"/>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701290"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5048250" y="4599583"/>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5048250"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7399020" y="4599583"/>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7399020"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9755504" y="4599583"/>
            <a:ext cx="2172960" cy="2090830"/>
          </a:xfrm>
          <a:solidFill>
            <a:srgbClr val="F6F3F2"/>
          </a:solidFill>
        </p:spPr>
        <p:txBody>
          <a:bodyPr vert="horz" lIns="0" tIns="0" rIns="0" bIns="0" rtlCol="0">
            <a:noAutofit/>
          </a:bodyPr>
          <a:lstStyle>
            <a:lvl1pPr>
              <a:defRPr lang="en-GB" sz="144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9755504"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2106274" y="4599583"/>
            <a:ext cx="2172960" cy="2090830"/>
          </a:xfrm>
          <a:solidFill>
            <a:srgbClr val="F6F3F2"/>
          </a:solidFill>
        </p:spPr>
        <p:txBody>
          <a:bodyPr vert="horz" lIns="0" tIns="0" rIns="0" bIns="0" rtlCol="0">
            <a:noAutofit/>
          </a:bodyPr>
          <a:lstStyle>
            <a:lvl1pPr>
              <a:defRPr lang="en-GB" sz="1440" dirty="0"/>
            </a:lvl1pPr>
          </a:lstStyle>
          <a:p>
            <a:pPr marL="0" marR="0" lvl="0" indent="0" algn="l" defTabSz="1097236" rtl="0" eaLnBrk="1" fontAlgn="auto" latinLnBrk="0" hangingPunct="1">
              <a:lnSpc>
                <a:spcPct val="110000"/>
              </a:lnSpc>
              <a:spcBef>
                <a:spcPts val="720"/>
              </a:spcBef>
              <a:spcAft>
                <a:spcPts val="720"/>
              </a:spcAft>
              <a:buClrTx/>
              <a:buSzTx/>
              <a:buFont typeface="Arial" panose="020B0604020202020204" pitchFamily="34" charset="0"/>
              <a:buNone/>
              <a:tabLst/>
              <a:defRPr/>
            </a:pPr>
            <a:r>
              <a:rPr lang="en-US" dirty="0"/>
              <a:t>Click the icon to add a team member headshot.</a:t>
            </a:r>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2106274" y="6768147"/>
            <a:ext cx="2173606" cy="557768"/>
          </a:xfrm>
        </p:spPr>
        <p:txBody>
          <a:bodyPr wrap="square">
            <a:spAutoFit/>
          </a:bodyPr>
          <a:lstStyle>
            <a:lvl1pPr>
              <a:spcBef>
                <a:spcPts val="0"/>
              </a:spcBef>
              <a:spcAft>
                <a:spcPts val="0"/>
              </a:spcAft>
              <a:defRPr lang="en-GB" sz="1680" b="1" i="0" kern="1200" dirty="0">
                <a:solidFill>
                  <a:schemeClr val="tx1"/>
                </a:solidFill>
                <a:latin typeface="Johnson Text" pitchFamily="2" charset="77"/>
                <a:ea typeface="+mn-ea"/>
                <a:cs typeface="+mn-cs"/>
              </a:defRPr>
            </a:lvl1pPr>
            <a:lvl2pPr marL="0" indent="0">
              <a:spcBef>
                <a:spcPts val="0"/>
              </a:spcBef>
              <a:spcAft>
                <a:spcPts val="0"/>
              </a:spcAft>
              <a:buNone/>
              <a:defRPr sz="1680" b="0" i="0">
                <a:solidFill>
                  <a:schemeClr val="tx1"/>
                </a:solidFill>
                <a:latin typeface="Johnson Text" pitchFamily="2" charset="77"/>
              </a:defRPr>
            </a:lvl2pPr>
            <a:lvl3pPr marL="384794" indent="-384794">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345965" y="315360"/>
            <a:ext cx="8053181" cy="549382"/>
          </a:xfrm>
        </p:spPr>
        <p:txBody>
          <a:bodyPr/>
          <a:lstStyle>
            <a:lvl1pPr>
              <a:defRPr>
                <a:solidFill>
                  <a:schemeClr val="tx2"/>
                </a:solidFill>
              </a:defRPr>
            </a:lvl1pPr>
          </a:lstStyle>
          <a:p>
            <a:r>
              <a:rPr lang="en-US" dirty="0"/>
              <a:t>Master title style</a:t>
            </a:r>
            <a:endParaRPr lang="en-GB" dirty="0"/>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345962" y="856345"/>
            <a:ext cx="8056246" cy="347339"/>
          </a:xfrm>
        </p:spPr>
        <p:txBody>
          <a:bodyPr vert="horz" wrap="square" lIns="0" tIns="0" rIns="0" bIns="0" rtlCol="0" anchor="t">
            <a:spAutoFit/>
          </a:bodyPr>
          <a:lstStyle>
            <a:lvl1pPr>
              <a:defRPr lang="en-GB" b="1" dirty="0"/>
            </a:lvl1pPr>
          </a:lstStyle>
          <a:p>
            <a:pPr lvl="0">
              <a:spcBef>
                <a:spcPts val="0"/>
              </a:spcBef>
              <a:spcAft>
                <a:spcPts val="0"/>
              </a:spcAft>
            </a:pPr>
            <a:r>
              <a:rPr lang="en-GB" dirty="0"/>
              <a:t>Subtitle goes here if required</a:t>
            </a:r>
          </a:p>
        </p:txBody>
      </p:sp>
    </p:spTree>
    <p:extLst>
      <p:ext uri="{BB962C8B-B14F-4D97-AF65-F5344CB8AC3E}">
        <p14:creationId xmlns:p14="http://schemas.microsoft.com/office/powerpoint/2010/main" val="33038269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tx2"/>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56264"/>
            <a:ext cx="3354704" cy="860616"/>
          </a:xfrm>
        </p:spPr>
        <p:txBody>
          <a:bodyPr anchor="b"/>
          <a:lstStyle>
            <a:lvl1pPr>
              <a:lnSpc>
                <a:spcPct val="100000"/>
              </a:lnSpc>
              <a:spcBef>
                <a:spcPts val="0"/>
              </a:spcBef>
              <a:spcAft>
                <a:spcPts val="0"/>
              </a:spcAft>
              <a:defRPr sz="1200">
                <a:solidFill>
                  <a:schemeClr val="bg1"/>
                </a:solidFill>
              </a:defRPr>
            </a:lvl1pPr>
          </a:lstStyle>
          <a:p>
            <a:r>
              <a:rPr lang="en-GB" dirty="0"/>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9912" y="336962"/>
            <a:ext cx="6880860" cy="3144476"/>
          </a:xfrm>
        </p:spPr>
        <p:txBody>
          <a:bodyPr wrap="square" anchor="t">
            <a:spAutoFit/>
          </a:bodyPr>
          <a:lstStyle>
            <a:lvl1pPr algn="l">
              <a:lnSpc>
                <a:spcPct val="80000"/>
              </a:lnSpc>
              <a:defRPr sz="8400" b="0" i="0" spc="0" baseline="0">
                <a:solidFill>
                  <a:schemeClr val="bg1"/>
                </a:solidFill>
                <a:latin typeface="+mj-lt"/>
              </a:defRPr>
            </a:lvl1pPr>
          </a:lstStyle>
          <a:p>
            <a:r>
              <a:rPr lang="en-US"/>
              <a:t>Click to edit Master title style</a:t>
            </a:r>
            <a:endParaRPr lang="en-GB" dirty="0"/>
          </a:p>
        </p:txBody>
      </p:sp>
      <p:sp>
        <p:nvSpPr>
          <p:cNvPr id="4" name="Freeform 3">
            <a:extLst>
              <a:ext uri="{FF2B5EF4-FFF2-40B4-BE49-F238E27FC236}">
                <a16:creationId xmlns:a16="http://schemas.microsoft.com/office/drawing/2014/main" id="{341CCCF6-45D3-89EA-1171-FDB379444A5D}"/>
              </a:ext>
            </a:extLst>
          </p:cNvPr>
          <p:cNvSpPr/>
          <p:nvPr/>
        </p:nvSpPr>
        <p:spPr>
          <a:xfrm>
            <a:off x="349912" y="7647760"/>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ctr"/>
          <a:lstStyle/>
          <a:p>
            <a:endParaRPr lang="en-GB" sz="3600" b="0" i="0" dirty="0">
              <a:solidFill>
                <a:schemeClr val="bg1"/>
              </a:solidFill>
              <a:latin typeface="Johnson Text" pitchFamily="2" charset="77"/>
            </a:endParaRPr>
          </a:p>
        </p:txBody>
      </p:sp>
    </p:spTree>
    <p:extLst>
      <p:ext uri="{BB962C8B-B14F-4D97-AF65-F5344CB8AC3E}">
        <p14:creationId xmlns:p14="http://schemas.microsoft.com/office/powerpoint/2010/main" val="12091599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rgbClr val="F6F3F2"/>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10925176" y="7056264"/>
            <a:ext cx="3354704" cy="860616"/>
          </a:xfrm>
        </p:spPr>
        <p:txBody>
          <a:bodyPr anchor="b"/>
          <a:lstStyle>
            <a:lvl1pPr>
              <a:lnSpc>
                <a:spcPct val="100000"/>
              </a:lnSpc>
              <a:spcBef>
                <a:spcPts val="0"/>
              </a:spcBef>
              <a:spcAft>
                <a:spcPts val="0"/>
              </a:spcAft>
              <a:defRPr sz="12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349912" y="336962"/>
            <a:ext cx="6880860" cy="3144476"/>
          </a:xfrm>
        </p:spPr>
        <p:txBody>
          <a:bodyPr wrap="square" anchor="t">
            <a:spAutoFit/>
          </a:bodyPr>
          <a:lstStyle>
            <a:lvl1pPr algn="l">
              <a:lnSpc>
                <a:spcPct val="80000"/>
              </a:lnSpc>
              <a:defRPr sz="8400" b="0" i="0" spc="0" baseline="0">
                <a:solidFill>
                  <a:schemeClr val="tx2"/>
                </a:solidFill>
                <a:latin typeface="+mj-lt"/>
              </a:defRPr>
            </a:lvl1pPr>
          </a:lstStyle>
          <a:p>
            <a:r>
              <a:rPr lang="en-US"/>
              <a:t>Click to edit Master title style</a:t>
            </a:r>
            <a:endParaRPr lang="en-GB" dirty="0"/>
          </a:p>
        </p:txBody>
      </p:sp>
      <p:sp>
        <p:nvSpPr>
          <p:cNvPr id="4" name="Freeform 3">
            <a:extLst>
              <a:ext uri="{FF2B5EF4-FFF2-40B4-BE49-F238E27FC236}">
                <a16:creationId xmlns:a16="http://schemas.microsoft.com/office/drawing/2014/main" id="{341CCCF6-45D3-89EA-1171-FDB379444A5D}"/>
              </a:ext>
            </a:extLst>
          </p:cNvPr>
          <p:cNvSpPr/>
          <p:nvPr/>
        </p:nvSpPr>
        <p:spPr>
          <a:xfrm>
            <a:off x="349912" y="7647760"/>
            <a:ext cx="2438888" cy="22691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tx2"/>
          </a:solidFill>
          <a:ln w="13780" cap="flat">
            <a:noFill/>
            <a:prstDash val="solid"/>
            <a:miter/>
          </a:ln>
        </p:spPr>
        <p:txBody>
          <a:bodyPr rtlCol="0" anchor="ctr"/>
          <a:lstStyle/>
          <a:p>
            <a:endParaRPr lang="en-GB" sz="3600" b="0" i="0" dirty="0">
              <a:solidFill>
                <a:schemeClr val="tx1"/>
              </a:solidFill>
              <a:latin typeface="Johnson Text" pitchFamily="2" charset="77"/>
            </a:endParaRPr>
          </a:p>
        </p:txBody>
      </p:sp>
    </p:spTree>
    <p:extLst>
      <p:ext uri="{BB962C8B-B14F-4D97-AF65-F5344CB8AC3E}">
        <p14:creationId xmlns:p14="http://schemas.microsoft.com/office/powerpoint/2010/main" val="390419108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1"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8103536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661049"/>
            <a:ext cx="4211320" cy="4398057"/>
          </a:xfrm>
          <a:solidFill>
            <a:schemeClr val="bg1"/>
          </a:solidFill>
          <a:ln>
            <a:noFill/>
          </a:ln>
        </p:spPr>
        <p:txBody>
          <a:bodyPr/>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1" y="2661049"/>
            <a:ext cx="4211320" cy="4398057"/>
          </a:xfrm>
          <a:solidFill>
            <a:schemeClr val="bg1"/>
          </a:solidFill>
          <a:ln>
            <a:noFill/>
          </a:ln>
        </p:spPr>
        <p:txBody>
          <a:bodyPr anchor="t"/>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1" y="2661049"/>
            <a:ext cx="4211320" cy="4398057"/>
          </a:xfrm>
          <a:solidFill>
            <a:schemeClr val="bg1"/>
          </a:solidFill>
          <a:ln>
            <a:noFill/>
          </a:ln>
        </p:spPr>
        <p:txBody>
          <a:bodyPr/>
          <a:lstStyle>
            <a:lvl1pPr marL="109538" indent="0">
              <a:buNone/>
              <a:defRPr sz="2000"/>
            </a:lvl1pPr>
            <a:lvl2pPr>
              <a:defRPr sz="2000"/>
            </a:lvl2pPr>
            <a:lvl3pPr>
              <a:defRPr sz="2000"/>
            </a:lvl3pPr>
            <a:lvl4pPr>
              <a:defRPr sz="2000"/>
            </a:lvl4pPr>
            <a:lvl5pPr>
              <a:defRPr sz="2000"/>
            </a:lvl5pPr>
          </a:lstStyle>
          <a:p>
            <a:pPr lvl="0"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80">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604" indent="0">
              <a:buNone/>
              <a:defRPr sz="1200"/>
            </a:lvl2pPr>
            <a:lvl3pPr marL="636422" indent="0">
              <a:buNone/>
              <a:defRPr sz="1200"/>
            </a:lvl3pPr>
            <a:lvl4pPr marL="1075334" indent="0">
              <a:buNone/>
              <a:defRPr sz="1200"/>
            </a:lvl4pPr>
            <a:lvl5pPr marL="1556195"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0" y="1222846"/>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725699" y="2016992"/>
            <a:ext cx="4209839" cy="520700"/>
          </a:xfrm>
          <a:solidFill>
            <a:srgbClr val="FFFFFF"/>
          </a:solidFill>
        </p:spPr>
        <p:txBody>
          <a:bodyPr anchor="ctr"/>
          <a:lstStyle>
            <a:lvl1pPr marL="109538" indent="0">
              <a:buNone/>
              <a:defRPr sz="2000" b="1">
                <a:solidFill>
                  <a:schemeClr val="accent3"/>
                </a:solidFill>
              </a:defRPr>
            </a:lvl1pPr>
          </a:lstStyle>
          <a:p>
            <a:pPr lvl="0"/>
            <a:r>
              <a:rPr lang="en-US"/>
              <a:t>Edit Master text styles</a:t>
            </a:r>
          </a:p>
        </p:txBody>
      </p:sp>
      <p:sp>
        <p:nvSpPr>
          <p:cNvPr id="19" name="Text Placeholder 8"/>
          <p:cNvSpPr>
            <a:spLocks noGrp="1"/>
          </p:cNvSpPr>
          <p:nvPr>
            <p:ph type="body" sz="quarter" idx="23"/>
          </p:nvPr>
        </p:nvSpPr>
        <p:spPr>
          <a:xfrm>
            <a:off x="5212940" y="2016992"/>
            <a:ext cx="4209839" cy="520700"/>
          </a:xfrm>
          <a:solidFill>
            <a:srgbClr val="FFFFFF"/>
          </a:solidFill>
        </p:spPr>
        <p:txBody>
          <a:bodyPr anchor="ctr"/>
          <a:lstStyle>
            <a:lvl1pPr marL="109538" indent="0">
              <a:buNone/>
              <a:defRPr sz="2000" b="1">
                <a:solidFill>
                  <a:schemeClr val="accent2"/>
                </a:solidFill>
              </a:defRPr>
            </a:lvl1pPr>
          </a:lstStyle>
          <a:p>
            <a:pPr lvl="0"/>
            <a:r>
              <a:rPr lang="en-US"/>
              <a:t>Edit Master text styles</a:t>
            </a:r>
          </a:p>
        </p:txBody>
      </p:sp>
      <p:sp>
        <p:nvSpPr>
          <p:cNvPr id="20" name="Text Placeholder 8"/>
          <p:cNvSpPr>
            <a:spLocks noGrp="1"/>
          </p:cNvSpPr>
          <p:nvPr>
            <p:ph type="body" sz="quarter" idx="24"/>
          </p:nvPr>
        </p:nvSpPr>
        <p:spPr>
          <a:xfrm>
            <a:off x="9688086" y="2016992"/>
            <a:ext cx="4221150" cy="520700"/>
          </a:xfrm>
          <a:solidFill>
            <a:srgbClr val="FFFFFF"/>
          </a:solidFill>
        </p:spPr>
        <p:txBody>
          <a:bodyPr anchor="ctr"/>
          <a:lstStyle>
            <a:lvl1pPr marL="109538" indent="0">
              <a:buNone/>
              <a:defRPr sz="2000" b="1">
                <a:solidFill>
                  <a:schemeClr val="accent1"/>
                </a:solidFill>
              </a:defRPr>
            </a:lvl1pPr>
          </a:lstStyle>
          <a:p>
            <a:pPr lvl="0"/>
            <a:r>
              <a:rPr lang="en-US"/>
              <a:t>Edit Master text styles</a:t>
            </a:r>
          </a:p>
        </p:txBody>
      </p:sp>
      <p:sp>
        <p:nvSpPr>
          <p:cNvPr id="12" name="Text Placeholder 3">
            <a:extLst>
              <a:ext uri="{FF2B5EF4-FFF2-40B4-BE49-F238E27FC236}">
                <a16:creationId xmlns:a16="http://schemas.microsoft.com/office/drawing/2014/main" id="{A68BE73F-D78F-D444-9162-708CDF52072F}"/>
              </a:ext>
            </a:extLst>
          </p:cNvPr>
          <p:cNvSpPr>
            <a:spLocks noGrp="1"/>
          </p:cNvSpPr>
          <p:nvPr>
            <p:ph type="body" sz="quarter" idx="25" hasCustomPrompt="1"/>
          </p:nvPr>
        </p:nvSpPr>
        <p:spPr>
          <a:xfrm>
            <a:off x="7976381" y="7688964"/>
            <a:ext cx="5823659" cy="308708"/>
          </a:xfrm>
        </p:spPr>
        <p:txBody>
          <a:bodyPr/>
          <a:lstStyle>
            <a:lvl1pPr marL="0" indent="0" algn="r">
              <a:buNone/>
              <a:defRPr sz="900" b="1"/>
            </a:lvl1pPr>
          </a:lstStyle>
          <a:p>
            <a:pPr lvl="0"/>
            <a:r>
              <a:rPr lang="en-US"/>
              <a:t>OPTIONAL FUNCTION NAME</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Title 1">
            <a:extLst>
              <a:ext uri="{FF2B5EF4-FFF2-40B4-BE49-F238E27FC236}">
                <a16:creationId xmlns:a16="http://schemas.microsoft.com/office/drawing/2014/main" id="{DE085746-F358-8B48-B3DA-0AFACF75E822}"/>
              </a:ext>
            </a:extLst>
          </p:cNvPr>
          <p:cNvSpPr>
            <a:spLocks noGrp="1"/>
          </p:cNvSpPr>
          <p:nvPr>
            <p:ph type="title"/>
          </p:nvPr>
        </p:nvSpPr>
        <p:spPr>
          <a:xfrm>
            <a:off x="726440" y="454149"/>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2472248433"/>
      </p:ext>
    </p:extLst>
  </p:cSld>
  <p:clrMapOvr>
    <a:masterClrMapping/>
  </p:clrMapOvr>
  <p:transition>
    <p:fade/>
  </p:transition>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4"/>
            <a:ext cx="13182936" cy="5003293"/>
          </a:xfrm>
        </p:spPr>
        <p:txBody>
          <a:bodyPr/>
          <a:lstStyle>
            <a:lvl1pPr marL="0" marR="0" indent="0" algn="ctr" defTabSz="1097236" rtl="0" eaLnBrk="1" fontAlgn="base" latinLnBrk="0" hangingPunct="1">
              <a:lnSpc>
                <a:spcPct val="100000"/>
              </a:lnSpc>
              <a:spcBef>
                <a:spcPct val="0"/>
              </a:spcBef>
              <a:spcAft>
                <a:spcPct val="0"/>
              </a:spcAft>
              <a:buClrTx/>
              <a:buSzTx/>
              <a:buFontTx/>
              <a:buNone/>
              <a:tabLst/>
              <a:defRPr sz="2400"/>
            </a:lvl1pPr>
          </a:lstStyle>
          <a:p>
            <a:pPr marL="0" marR="0" lvl="0"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7"/>
            <a:ext cx="13177520" cy="482440"/>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8C943351-4D1C-B84E-AFF6-E461D04C3E37}"/>
              </a:ext>
            </a:extLst>
          </p:cNvPr>
          <p:cNvPicPr>
            <a:picLocks noChangeAspect="1"/>
          </p:cNvPicPr>
          <p:nvPr userDrawn="1"/>
        </p:nvPicPr>
        <p:blipFill>
          <a:blip r:embed="rId2"/>
          <a:stretch>
            <a:fillRect/>
          </a:stretch>
        </p:blipFill>
        <p:spPr>
          <a:xfrm>
            <a:off x="12070992" y="7653650"/>
            <a:ext cx="1729048" cy="339160"/>
          </a:xfrm>
          <a:prstGeom prst="rect">
            <a:avLst/>
          </a:prstGeom>
        </p:spPr>
      </p:pic>
    </p:spTree>
    <p:extLst>
      <p:ext uri="{BB962C8B-B14F-4D97-AF65-F5344CB8AC3E}">
        <p14:creationId xmlns:p14="http://schemas.microsoft.com/office/powerpoint/2010/main" val="2871395768"/>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24691716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97919773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00373111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3"/>
        <p:cNvGrpSpPr/>
        <p:nvPr/>
      </p:nvGrpSpPr>
      <p:grpSpPr>
        <a:xfrm>
          <a:off x="0" y="0"/>
          <a:ext cx="0" cy="0"/>
          <a:chOff x="0" y="0"/>
          <a:chExt cx="0" cy="0"/>
        </a:xfrm>
      </p:grpSpPr>
      <p:sp>
        <p:nvSpPr>
          <p:cNvPr id="24" name="Google Shape;24;p73"/>
          <p:cNvSpPr txBox="1">
            <a:spLocks noGrp="1"/>
          </p:cNvSpPr>
          <p:nvPr>
            <p:ph type="title"/>
          </p:nvPr>
        </p:nvSpPr>
        <p:spPr>
          <a:xfrm>
            <a:off x="498720" y="712040"/>
            <a:ext cx="13632960" cy="91632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5" name="Google Shape;25;p73"/>
          <p:cNvSpPr txBox="1">
            <a:spLocks noGrp="1"/>
          </p:cNvSpPr>
          <p:nvPr>
            <p:ph type="body" idx="1"/>
          </p:nvPr>
        </p:nvSpPr>
        <p:spPr>
          <a:xfrm>
            <a:off x="498720" y="1843960"/>
            <a:ext cx="13632960" cy="5466240"/>
          </a:xfrm>
          <a:prstGeom prst="rect">
            <a:avLst/>
          </a:prstGeom>
          <a:noFill/>
          <a:ln>
            <a:noFill/>
          </a:ln>
        </p:spPr>
        <p:txBody>
          <a:bodyPr spcFirstLastPara="1" wrap="square" lIns="91425" tIns="91425" rIns="91425" bIns="91425" anchor="t" anchorCtr="0">
            <a:normAutofit/>
          </a:bodyPr>
          <a:lstStyle>
            <a:lvl1pPr marL="731502" lvl="0" indent="-548627" algn="l">
              <a:lnSpc>
                <a:spcPct val="115000"/>
              </a:lnSpc>
              <a:spcBef>
                <a:spcPts val="0"/>
              </a:spcBef>
              <a:spcAft>
                <a:spcPts val="0"/>
              </a:spcAft>
              <a:buSzPts val="1800"/>
              <a:buChar char="●"/>
              <a:defRPr/>
            </a:lvl1pPr>
            <a:lvl2pPr marL="1463004" lvl="1" indent="-507988" algn="l">
              <a:lnSpc>
                <a:spcPct val="115000"/>
              </a:lnSpc>
              <a:spcBef>
                <a:spcPts val="0"/>
              </a:spcBef>
              <a:spcAft>
                <a:spcPts val="0"/>
              </a:spcAft>
              <a:buSzPts val="1400"/>
              <a:buChar char="○"/>
              <a:defRPr/>
            </a:lvl2pPr>
            <a:lvl3pPr marL="2194505" lvl="2" indent="-507988" algn="l">
              <a:lnSpc>
                <a:spcPct val="115000"/>
              </a:lnSpc>
              <a:spcBef>
                <a:spcPts val="0"/>
              </a:spcBef>
              <a:spcAft>
                <a:spcPts val="0"/>
              </a:spcAft>
              <a:buSzPts val="1400"/>
              <a:buChar char="■"/>
              <a:defRPr/>
            </a:lvl3pPr>
            <a:lvl4pPr marL="2926007" lvl="3" indent="-507988" algn="l">
              <a:lnSpc>
                <a:spcPct val="115000"/>
              </a:lnSpc>
              <a:spcBef>
                <a:spcPts val="0"/>
              </a:spcBef>
              <a:spcAft>
                <a:spcPts val="0"/>
              </a:spcAft>
              <a:buSzPts val="1400"/>
              <a:buChar char="●"/>
              <a:defRPr/>
            </a:lvl4pPr>
            <a:lvl5pPr marL="3657509" lvl="4" indent="-507988" algn="l">
              <a:lnSpc>
                <a:spcPct val="115000"/>
              </a:lnSpc>
              <a:spcBef>
                <a:spcPts val="0"/>
              </a:spcBef>
              <a:spcAft>
                <a:spcPts val="0"/>
              </a:spcAft>
              <a:buSzPts val="1400"/>
              <a:buChar char="○"/>
              <a:defRPr/>
            </a:lvl5pPr>
            <a:lvl6pPr marL="4389011" lvl="5" indent="-507988" algn="l">
              <a:lnSpc>
                <a:spcPct val="115000"/>
              </a:lnSpc>
              <a:spcBef>
                <a:spcPts val="0"/>
              </a:spcBef>
              <a:spcAft>
                <a:spcPts val="0"/>
              </a:spcAft>
              <a:buSzPts val="1400"/>
              <a:buChar char="■"/>
              <a:defRPr/>
            </a:lvl6pPr>
            <a:lvl7pPr marL="5120512" lvl="6" indent="-507988" algn="l">
              <a:lnSpc>
                <a:spcPct val="115000"/>
              </a:lnSpc>
              <a:spcBef>
                <a:spcPts val="0"/>
              </a:spcBef>
              <a:spcAft>
                <a:spcPts val="0"/>
              </a:spcAft>
              <a:buSzPts val="1400"/>
              <a:buChar char="●"/>
              <a:defRPr/>
            </a:lvl7pPr>
            <a:lvl8pPr marL="5852014" lvl="7" indent="-507988" algn="l">
              <a:lnSpc>
                <a:spcPct val="115000"/>
              </a:lnSpc>
              <a:spcBef>
                <a:spcPts val="0"/>
              </a:spcBef>
              <a:spcAft>
                <a:spcPts val="0"/>
              </a:spcAft>
              <a:buSzPts val="1400"/>
              <a:buChar char="○"/>
              <a:defRPr/>
            </a:lvl8pPr>
            <a:lvl9pPr marL="6583516" lvl="8" indent="-507988" algn="l">
              <a:lnSpc>
                <a:spcPct val="115000"/>
              </a:lnSpc>
              <a:spcBef>
                <a:spcPts val="0"/>
              </a:spcBef>
              <a:spcAft>
                <a:spcPts val="0"/>
              </a:spcAft>
              <a:buSzPts val="1400"/>
              <a:buChar char="■"/>
              <a:defRPr/>
            </a:lvl9pPr>
          </a:lstStyle>
          <a:p>
            <a:endParaRPr/>
          </a:p>
        </p:txBody>
      </p:sp>
      <p:sp>
        <p:nvSpPr>
          <p:cNvPr id="26" name="Google Shape;26;p73"/>
          <p:cNvSpPr txBox="1">
            <a:spLocks noGrp="1"/>
          </p:cNvSpPr>
          <p:nvPr>
            <p:ph type="sldNum" idx="12"/>
          </p:nvPr>
        </p:nvSpPr>
        <p:spPr>
          <a:xfrm>
            <a:off x="13555933" y="7461148"/>
            <a:ext cx="877920" cy="62976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6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0391662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1"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11250762"/>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3"/>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2833804"/>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5169332"/>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F26A83DB-15DE-5F4B-B02D-DC4E407EC08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537729"/>
            <a:ext cx="3794119" cy="694460"/>
          </a:xfrm>
          <a:prstGeom prst="rect">
            <a:avLst/>
          </a:prstGeom>
        </p:spPr>
      </p:pic>
    </p:spTree>
    <p:extLst>
      <p:ext uri="{BB962C8B-B14F-4D97-AF65-F5344CB8AC3E}">
        <p14:creationId xmlns:p14="http://schemas.microsoft.com/office/powerpoint/2010/main" val="3138331076"/>
      </p:ext>
    </p:extLst>
  </p:cSld>
  <p:clrMapOvr>
    <a:masterClrMapping/>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presentation title 3">
    <p:spTree>
      <p:nvGrpSpPr>
        <p:cNvPr id="1" name=""/>
        <p:cNvGrpSpPr/>
        <p:nvPr/>
      </p:nvGrpSpPr>
      <p:grpSpPr>
        <a:xfrm>
          <a:off x="0" y="0"/>
          <a:ext cx="0" cy="0"/>
          <a:chOff x="0" y="0"/>
          <a:chExt cx="0" cy="0"/>
        </a:xfrm>
      </p:grpSpPr>
      <p:sp>
        <p:nvSpPr>
          <p:cNvPr id="3" name="Rectangle 2"/>
          <p:cNvSpPr/>
          <p:nvPr userDrawn="1"/>
        </p:nvSpPr>
        <p:spPr bwMode="auto">
          <a:xfrm>
            <a:off x="0" y="6588975"/>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843655"/>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3657402"/>
            <a:ext cx="10291330" cy="91479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7BC504DF-781C-A242-8C76-46037FCB35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3511150760"/>
      </p:ext>
    </p:extLst>
  </p:cSld>
  <p:clrMapOvr>
    <a:masterClrMapping/>
  </p:clrMapOvr>
  <p:transition>
    <p:fade/>
  </p:transition>
  <p:hf hdr="0" ftr="0" dt="0"/>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403914738"/>
      </p:ext>
    </p:extLst>
  </p:cSld>
  <p:clrMapOvr>
    <a:masterClrMapping/>
  </p:clrMapOvr>
  <p:transition>
    <p:fade/>
  </p:transition>
  <p:hf hdr="0" ftr="0" dt="0"/>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2"/>
            <a:ext cx="9137088"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693177326"/>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7126C82-A3F3-844B-84CD-4A0A0FE4F981}"/>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8" name="Slide Number Placeholder 5">
            <a:extLst>
              <a:ext uri="{FF2B5EF4-FFF2-40B4-BE49-F238E27FC236}">
                <a16:creationId xmlns:a16="http://schemas.microsoft.com/office/drawing/2014/main" id="{FD2FF53E-E76B-884D-AC96-1F41150C7D68}"/>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95037695"/>
      </p:ext>
    </p:extLst>
  </p:cSld>
  <p:clrMapOvr>
    <a:masterClrMapping/>
  </p:clrMapOvr>
  <p:transition>
    <p:fade/>
  </p:transition>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rgbClr val="C8102E"/>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891098397"/>
      </p:ext>
    </p:extLst>
  </p:cSld>
  <p:clrMapOvr>
    <a:masterClrMapping/>
  </p:clrMapOvr>
  <p:transition>
    <p:fade/>
  </p:transition>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387346967"/>
      </p:ext>
    </p:extLst>
  </p:cSld>
  <p:clrMapOvr>
    <a:masterClrMapping/>
  </p:clrMapOvr>
  <p:transition>
    <p:fade/>
  </p:transition>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887948636"/>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106715216"/>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1"/>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3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3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480252647"/>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6"/>
            <a:ext cx="13182936" cy="5003293"/>
          </a:xfrm>
        </p:spPr>
        <p:txBody>
          <a:bodyPr/>
          <a:lstStyle>
            <a:lvl1pPr marL="0" marR="0" indent="0" algn="ctr" defTabSz="1097192" rtl="0" eaLnBrk="1" fontAlgn="base" latinLnBrk="0" hangingPunct="1">
              <a:lnSpc>
                <a:spcPct val="100000"/>
              </a:lnSpc>
              <a:spcBef>
                <a:spcPct val="0"/>
              </a:spcBef>
              <a:spcAft>
                <a:spcPct val="0"/>
              </a:spcAft>
              <a:buClrTx/>
              <a:buSzTx/>
              <a:buFontTx/>
              <a:buNone/>
              <a:tabLst/>
              <a:defRPr sz="2400"/>
            </a:lvl1pPr>
          </a:lstStyle>
          <a:p>
            <a:pPr marL="0" marR="0" lvl="0"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4" name="Text Placeholder 3">
            <a:extLst>
              <a:ext uri="{FF2B5EF4-FFF2-40B4-BE49-F238E27FC236}">
                <a16:creationId xmlns:a16="http://schemas.microsoft.com/office/drawing/2014/main" id="{5397A512-B9EE-674C-A111-FE2D1D64CCEA}"/>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4096813049"/>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6"/>
            <a:ext cx="13182936" cy="5003293"/>
          </a:xfrm>
        </p:spPr>
        <p:txBody>
          <a:bodyPr/>
          <a:lstStyle>
            <a:lvl1pPr marL="0" marR="0" indent="0" algn="ctr" defTabSz="1097192" rtl="0" eaLnBrk="1" fontAlgn="base" latinLnBrk="0" hangingPunct="1">
              <a:lnSpc>
                <a:spcPct val="100000"/>
              </a:lnSpc>
              <a:spcBef>
                <a:spcPct val="0"/>
              </a:spcBef>
              <a:spcAft>
                <a:spcPct val="0"/>
              </a:spcAft>
              <a:buClrTx/>
              <a:buSzTx/>
              <a:buFontTx/>
              <a:buNone/>
              <a:tabLst/>
              <a:defRPr sz="2400"/>
            </a:lvl1pPr>
          </a:lstStyle>
          <a:p>
            <a:pPr marL="0" marR="0" lvl="0"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192"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4910"/>
      </p:ext>
    </p:extLst>
  </p:cSld>
  <p:clrMapOvr>
    <a:masterClrMapping/>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itle, sub, multi image">
    <p:bg>
      <p:bgPr>
        <a:solidFill>
          <a:schemeClr val="bg1"/>
        </a:solidFill>
        <a:effectLst/>
      </p:bgPr>
    </p:bg>
    <p:spTree>
      <p:nvGrpSpPr>
        <p:cNvPr id="1" name=""/>
        <p:cNvGrpSpPr/>
        <p:nvPr/>
      </p:nvGrpSpPr>
      <p:grpSpPr>
        <a:xfrm>
          <a:off x="0" y="0"/>
          <a:ext cx="0" cy="0"/>
          <a:chOff x="0" y="0"/>
          <a:chExt cx="0" cy="0"/>
        </a:xfrm>
      </p:grpSpPr>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
        <p:nvSpPr>
          <p:cNvPr id="23" name="Picture Placeholder 3">
            <a:extLst>
              <a:ext uri="{FF2B5EF4-FFF2-40B4-BE49-F238E27FC236}">
                <a16:creationId xmlns:a16="http://schemas.microsoft.com/office/drawing/2014/main" id="{FE862BD8-3F1C-604A-8A05-69334A1195EA}"/>
              </a:ext>
            </a:extLst>
          </p:cNvPr>
          <p:cNvSpPr>
            <a:spLocks noGrp="1"/>
          </p:cNvSpPr>
          <p:nvPr>
            <p:ph type="pic" sz="quarter" idx="18"/>
          </p:nvPr>
        </p:nvSpPr>
        <p:spPr>
          <a:xfrm>
            <a:off x="720725" y="2337856"/>
            <a:ext cx="3137122" cy="2110753"/>
          </a:xfrm>
        </p:spPr>
        <p:txBody>
          <a:bodyPr/>
          <a:lstStyle/>
          <a:p>
            <a:endParaRPr lang="en-US" dirty="0"/>
          </a:p>
        </p:txBody>
      </p:sp>
      <p:sp>
        <p:nvSpPr>
          <p:cNvPr id="24" name="Picture Placeholder 3">
            <a:extLst>
              <a:ext uri="{FF2B5EF4-FFF2-40B4-BE49-F238E27FC236}">
                <a16:creationId xmlns:a16="http://schemas.microsoft.com/office/drawing/2014/main" id="{61F73758-8634-BF4C-AAE3-3308888FD84F}"/>
              </a:ext>
            </a:extLst>
          </p:cNvPr>
          <p:cNvSpPr>
            <a:spLocks noGrp="1"/>
          </p:cNvSpPr>
          <p:nvPr>
            <p:ph type="pic" sz="quarter" idx="19"/>
          </p:nvPr>
        </p:nvSpPr>
        <p:spPr>
          <a:xfrm>
            <a:off x="4062287" y="2334794"/>
            <a:ext cx="3137122" cy="2110753"/>
          </a:xfrm>
        </p:spPr>
        <p:txBody>
          <a:bodyPr/>
          <a:lstStyle/>
          <a:p>
            <a:endParaRPr lang="en-US" dirty="0"/>
          </a:p>
        </p:txBody>
      </p:sp>
      <p:sp>
        <p:nvSpPr>
          <p:cNvPr id="25" name="Picture Placeholder 3">
            <a:extLst>
              <a:ext uri="{FF2B5EF4-FFF2-40B4-BE49-F238E27FC236}">
                <a16:creationId xmlns:a16="http://schemas.microsoft.com/office/drawing/2014/main" id="{08CC4309-5DD8-1C47-B3CD-8166470D4059}"/>
              </a:ext>
            </a:extLst>
          </p:cNvPr>
          <p:cNvSpPr>
            <a:spLocks noGrp="1"/>
          </p:cNvSpPr>
          <p:nvPr>
            <p:ph type="pic" sz="quarter" idx="20"/>
          </p:nvPr>
        </p:nvSpPr>
        <p:spPr>
          <a:xfrm>
            <a:off x="7403849" y="2342450"/>
            <a:ext cx="3137122" cy="2110753"/>
          </a:xfrm>
        </p:spPr>
        <p:txBody>
          <a:bodyPr/>
          <a:lstStyle/>
          <a:p>
            <a:endParaRPr lang="en-US" dirty="0"/>
          </a:p>
        </p:txBody>
      </p:sp>
      <p:sp>
        <p:nvSpPr>
          <p:cNvPr id="26" name="Picture Placeholder 3">
            <a:extLst>
              <a:ext uri="{FF2B5EF4-FFF2-40B4-BE49-F238E27FC236}">
                <a16:creationId xmlns:a16="http://schemas.microsoft.com/office/drawing/2014/main" id="{C62BCD82-F855-3D4E-ABF6-A3A9F38ABB76}"/>
              </a:ext>
            </a:extLst>
          </p:cNvPr>
          <p:cNvSpPr>
            <a:spLocks noGrp="1"/>
          </p:cNvSpPr>
          <p:nvPr>
            <p:ph type="pic" sz="quarter" idx="21"/>
          </p:nvPr>
        </p:nvSpPr>
        <p:spPr>
          <a:xfrm>
            <a:off x="10745412" y="2353736"/>
            <a:ext cx="3137122" cy="2110753"/>
          </a:xfrm>
        </p:spPr>
        <p:txBody>
          <a:bodyPr/>
          <a:lstStyle/>
          <a:p>
            <a:endParaRPr lang="en-US" dirty="0"/>
          </a:p>
        </p:txBody>
      </p:sp>
      <p:sp>
        <p:nvSpPr>
          <p:cNvPr id="27" name="Picture Placeholder 3">
            <a:extLst>
              <a:ext uri="{FF2B5EF4-FFF2-40B4-BE49-F238E27FC236}">
                <a16:creationId xmlns:a16="http://schemas.microsoft.com/office/drawing/2014/main" id="{811C0FAF-F980-BE46-B15B-CB96D0EA330B}"/>
              </a:ext>
            </a:extLst>
          </p:cNvPr>
          <p:cNvSpPr>
            <a:spLocks noGrp="1"/>
          </p:cNvSpPr>
          <p:nvPr>
            <p:ph type="pic" sz="quarter" idx="22"/>
          </p:nvPr>
        </p:nvSpPr>
        <p:spPr>
          <a:xfrm>
            <a:off x="720725" y="4670240"/>
            <a:ext cx="3137122" cy="2110753"/>
          </a:xfrm>
        </p:spPr>
        <p:txBody>
          <a:bodyPr/>
          <a:lstStyle/>
          <a:p>
            <a:endParaRPr lang="en-US" dirty="0"/>
          </a:p>
        </p:txBody>
      </p:sp>
      <p:sp>
        <p:nvSpPr>
          <p:cNvPr id="28" name="Picture Placeholder 3">
            <a:extLst>
              <a:ext uri="{FF2B5EF4-FFF2-40B4-BE49-F238E27FC236}">
                <a16:creationId xmlns:a16="http://schemas.microsoft.com/office/drawing/2014/main" id="{B8565162-7ED6-E642-A009-7342765D75A6}"/>
              </a:ext>
            </a:extLst>
          </p:cNvPr>
          <p:cNvSpPr>
            <a:spLocks noGrp="1"/>
          </p:cNvSpPr>
          <p:nvPr>
            <p:ph type="pic" sz="quarter" idx="23"/>
          </p:nvPr>
        </p:nvSpPr>
        <p:spPr>
          <a:xfrm>
            <a:off x="4062287" y="4667178"/>
            <a:ext cx="3137122" cy="2110753"/>
          </a:xfrm>
        </p:spPr>
        <p:txBody>
          <a:bodyPr/>
          <a:lstStyle/>
          <a:p>
            <a:endParaRPr lang="en-US" dirty="0"/>
          </a:p>
        </p:txBody>
      </p:sp>
      <p:sp>
        <p:nvSpPr>
          <p:cNvPr id="29" name="Picture Placeholder 3">
            <a:extLst>
              <a:ext uri="{FF2B5EF4-FFF2-40B4-BE49-F238E27FC236}">
                <a16:creationId xmlns:a16="http://schemas.microsoft.com/office/drawing/2014/main" id="{153E5BF5-B7A2-1D46-95D7-2976989CC526}"/>
              </a:ext>
            </a:extLst>
          </p:cNvPr>
          <p:cNvSpPr>
            <a:spLocks noGrp="1"/>
          </p:cNvSpPr>
          <p:nvPr>
            <p:ph type="pic" sz="quarter" idx="24"/>
          </p:nvPr>
        </p:nvSpPr>
        <p:spPr>
          <a:xfrm>
            <a:off x="7403849" y="4674834"/>
            <a:ext cx="3137122" cy="2110753"/>
          </a:xfrm>
        </p:spPr>
        <p:txBody>
          <a:bodyPr/>
          <a:lstStyle/>
          <a:p>
            <a:endParaRPr lang="en-US" dirty="0"/>
          </a:p>
        </p:txBody>
      </p:sp>
      <p:sp>
        <p:nvSpPr>
          <p:cNvPr id="30" name="Picture Placeholder 3">
            <a:extLst>
              <a:ext uri="{FF2B5EF4-FFF2-40B4-BE49-F238E27FC236}">
                <a16:creationId xmlns:a16="http://schemas.microsoft.com/office/drawing/2014/main" id="{7BBC3411-5FF9-D847-BF6A-7429591D9CCC}"/>
              </a:ext>
            </a:extLst>
          </p:cNvPr>
          <p:cNvSpPr>
            <a:spLocks noGrp="1"/>
          </p:cNvSpPr>
          <p:nvPr>
            <p:ph type="pic" sz="quarter" idx="25"/>
          </p:nvPr>
        </p:nvSpPr>
        <p:spPr>
          <a:xfrm>
            <a:off x="10745412" y="4686120"/>
            <a:ext cx="3137122" cy="2110753"/>
          </a:xfrm>
        </p:spPr>
        <p:txBody>
          <a:bodyPr/>
          <a:lstStyle/>
          <a:p>
            <a:endParaRPr lang="en-US" dirty="0"/>
          </a:p>
        </p:txBody>
      </p:sp>
    </p:spTree>
    <p:extLst>
      <p:ext uri="{BB962C8B-B14F-4D97-AF65-F5344CB8AC3E}">
        <p14:creationId xmlns:p14="http://schemas.microsoft.com/office/powerpoint/2010/main" val="2880525567"/>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sp>
        <p:nvSpPr>
          <p:cNvPr id="5" name="Text Placeholder 4"/>
          <p:cNvSpPr>
            <a:spLocks noGrp="1"/>
          </p:cNvSpPr>
          <p:nvPr>
            <p:ph type="body" sz="quarter" idx="10"/>
          </p:nvPr>
        </p:nvSpPr>
        <p:spPr>
          <a:xfrm>
            <a:off x="726441" y="2106614"/>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6" name="Text Placeholder 3">
            <a:extLst>
              <a:ext uri="{FF2B5EF4-FFF2-40B4-BE49-F238E27FC236}">
                <a16:creationId xmlns:a16="http://schemas.microsoft.com/office/drawing/2014/main" id="{9F517C4F-52C8-004C-AEB3-B965686EAAA9}"/>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476308374"/>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presentation title 3">
    <p:spTree>
      <p:nvGrpSpPr>
        <p:cNvPr id="1" name=""/>
        <p:cNvGrpSpPr/>
        <p:nvPr/>
      </p:nvGrpSpPr>
      <p:grpSpPr>
        <a:xfrm>
          <a:off x="0" y="0"/>
          <a:ext cx="0" cy="0"/>
          <a:chOff x="0" y="0"/>
          <a:chExt cx="0" cy="0"/>
        </a:xfrm>
      </p:grpSpPr>
      <p:sp>
        <p:nvSpPr>
          <p:cNvPr id="3" name="Rectangle 2"/>
          <p:cNvSpPr/>
          <p:nvPr userDrawn="1"/>
        </p:nvSpPr>
        <p:spPr bwMode="auto">
          <a:xfrm>
            <a:off x="0" y="6588973"/>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0" y="843655"/>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3657402"/>
            <a:ext cx="10291330" cy="91479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7BC504DF-781C-A242-8C76-46037FCB35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1" y="7032578"/>
            <a:ext cx="3794119" cy="694460"/>
          </a:xfrm>
          <a:prstGeom prst="rect">
            <a:avLst/>
          </a:prstGeom>
        </p:spPr>
      </p:pic>
    </p:spTree>
    <p:extLst>
      <p:ext uri="{BB962C8B-B14F-4D97-AF65-F5344CB8AC3E}">
        <p14:creationId xmlns:p14="http://schemas.microsoft.com/office/powerpoint/2010/main" val="1529535357"/>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26440" y="6833477"/>
            <a:ext cx="13177520" cy="477916"/>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08" y="7266802"/>
            <a:ext cx="13177552" cy="276998"/>
          </a:xfrm>
        </p:spPr>
        <p:txBody>
          <a:bodyPr wrap="square" anchor="b" anchorCtr="0">
            <a:spAutoFit/>
          </a:bodyPr>
          <a:lstStyle>
            <a:lvl1pPr algn="l">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F50E040B-9C9D-1A47-973E-7DECBD6CA6D9}"/>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Picture Placeholder 2">
            <a:extLst>
              <a:ext uri="{FF2B5EF4-FFF2-40B4-BE49-F238E27FC236}">
                <a16:creationId xmlns:a16="http://schemas.microsoft.com/office/drawing/2014/main" id="{A1177230-E7DB-E345-B033-4DBFCB7E1C3A}"/>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Tree>
  </p:cSld>
  <p:clrMapOvr>
    <a:masterClrMapping/>
  </p:clrMapOvr>
  <p:transition>
    <p:fade/>
  </p:transition>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graphicFrame>
        <p:nvGraphicFramePr>
          <p:cNvPr id="33" name="Chart 32">
            <a:extLst>
              <a:ext uri="{FF2B5EF4-FFF2-40B4-BE49-F238E27FC236}">
                <a16:creationId xmlns:a16="http://schemas.microsoft.com/office/drawing/2014/main" id="{D025E7FA-298A-CD45-B1DA-D620F2482A58}"/>
              </a:ext>
            </a:extLst>
          </p:cNvPr>
          <p:cNvGraphicFramePr/>
          <p:nvPr userDrawn="1">
            <p:extLst>
              <p:ext uri="{D42A27DB-BD31-4B8C-83A1-F6EECF244321}">
                <p14:modId xmlns:p14="http://schemas.microsoft.com/office/powerpoint/2010/main" val="3459456206"/>
              </p:ext>
            </p:extLst>
          </p:nvPr>
        </p:nvGraphicFramePr>
        <p:xfrm>
          <a:off x="15557874" y="4888978"/>
          <a:ext cx="3678955" cy="1989156"/>
        </p:xfrm>
        <a:graphic>
          <a:graphicData uri="http://schemas.openxmlformats.org/drawingml/2006/chart">
            <c:chart xmlns:c="http://schemas.openxmlformats.org/drawingml/2006/chart" xmlns:r="http://schemas.openxmlformats.org/officeDocument/2006/relationships" r:id="rId2"/>
          </a:graphicData>
        </a:graphic>
      </p:graphicFrame>
      <p:sp>
        <p:nvSpPr>
          <p:cNvPr id="37" name="Slide Number Placeholder 5">
            <a:extLst>
              <a:ext uri="{FF2B5EF4-FFF2-40B4-BE49-F238E27FC236}">
                <a16:creationId xmlns:a16="http://schemas.microsoft.com/office/drawing/2014/main" id="{29B4D95D-D7E1-344B-B5F5-F2BE79D2A182}"/>
              </a:ext>
            </a:extLst>
          </p:cNvPr>
          <p:cNvSpPr txBox="1">
            <a:spLocks/>
          </p:cNvSpPr>
          <p:nvPr userDrawn="1"/>
        </p:nvSpPr>
        <p:spPr>
          <a:xfrm>
            <a:off x="29834492"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FF0000"/>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solidFill>
                  <a:srgbClr val="C8102E"/>
                </a:solidFill>
              </a:rPr>
              <a:pPr/>
              <a:t>‹#›</a:t>
            </a:fld>
            <a:endParaRPr lang="en-US" sz="960" dirty="0">
              <a:solidFill>
                <a:srgbClr val="C8102E"/>
              </a:solidFill>
            </a:endParaRPr>
          </a:p>
        </p:txBody>
      </p:sp>
      <p:sp>
        <p:nvSpPr>
          <p:cNvPr id="125" name="Text Placeholder 3">
            <a:extLst>
              <a:ext uri="{FF2B5EF4-FFF2-40B4-BE49-F238E27FC236}">
                <a16:creationId xmlns:a16="http://schemas.microsoft.com/office/drawing/2014/main" id="{2370FFBE-37A2-9640-8C17-39BD2F6534B6}"/>
              </a:ext>
            </a:extLst>
          </p:cNvPr>
          <p:cNvSpPr>
            <a:spLocks noGrp="1"/>
          </p:cNvSpPr>
          <p:nvPr>
            <p:ph type="body" sz="quarter" idx="22"/>
          </p:nvPr>
        </p:nvSpPr>
        <p:spPr>
          <a:xfrm>
            <a:off x="702751" y="1687959"/>
            <a:ext cx="2982913" cy="445388"/>
          </a:xfrm>
        </p:spPr>
        <p:txBody>
          <a:bodyPr/>
          <a:lstStyle>
            <a:lvl1pPr marL="0" indent="0">
              <a:buNone/>
              <a:defRPr sz="2400" b="1"/>
            </a:lvl1pPr>
          </a:lstStyle>
          <a:p>
            <a:pPr lvl="0"/>
            <a:r>
              <a:rPr lang="en-US"/>
              <a:t>Click to edit</a:t>
            </a:r>
          </a:p>
        </p:txBody>
      </p:sp>
      <p:sp>
        <p:nvSpPr>
          <p:cNvPr id="126" name="Text Placeholder 3">
            <a:extLst>
              <a:ext uri="{FF2B5EF4-FFF2-40B4-BE49-F238E27FC236}">
                <a16:creationId xmlns:a16="http://schemas.microsoft.com/office/drawing/2014/main" id="{F379177C-F1E5-E449-AB33-128B2D474506}"/>
              </a:ext>
            </a:extLst>
          </p:cNvPr>
          <p:cNvSpPr>
            <a:spLocks noGrp="1"/>
          </p:cNvSpPr>
          <p:nvPr>
            <p:ph type="body" sz="quarter" idx="23"/>
          </p:nvPr>
        </p:nvSpPr>
        <p:spPr>
          <a:xfrm>
            <a:off x="7702233" y="1687960"/>
            <a:ext cx="2982913" cy="434094"/>
          </a:xfrm>
        </p:spPr>
        <p:txBody>
          <a:bodyPr/>
          <a:lstStyle>
            <a:lvl1pPr marL="0" indent="0">
              <a:buNone/>
              <a:defRPr sz="2400" b="1"/>
            </a:lvl1pPr>
          </a:lstStyle>
          <a:p>
            <a:pPr lvl="0"/>
            <a:r>
              <a:rPr lang="en-US"/>
              <a:t>Click to edit</a:t>
            </a:r>
          </a:p>
        </p:txBody>
      </p:sp>
      <p:sp>
        <p:nvSpPr>
          <p:cNvPr id="127" name="Text Placeholder 3">
            <a:extLst>
              <a:ext uri="{FF2B5EF4-FFF2-40B4-BE49-F238E27FC236}">
                <a16:creationId xmlns:a16="http://schemas.microsoft.com/office/drawing/2014/main" id="{16E05738-1488-2C4B-8A43-8A38F6F540A1}"/>
              </a:ext>
            </a:extLst>
          </p:cNvPr>
          <p:cNvSpPr>
            <a:spLocks noGrp="1"/>
          </p:cNvSpPr>
          <p:nvPr>
            <p:ph type="body" sz="quarter" idx="24"/>
          </p:nvPr>
        </p:nvSpPr>
        <p:spPr>
          <a:xfrm>
            <a:off x="702748" y="2192061"/>
            <a:ext cx="6171296" cy="667748"/>
          </a:xfrm>
        </p:spPr>
        <p:txBody>
          <a:bodyPr/>
          <a:lstStyle>
            <a:lvl1pPr marL="0" indent="0">
              <a:buNone/>
              <a:defRPr sz="1800" b="0"/>
            </a:lvl1pPr>
          </a:lstStyle>
          <a:p>
            <a:pPr lvl="0"/>
            <a:r>
              <a:rPr lang="en-US"/>
              <a:t>Click to edit</a:t>
            </a:r>
          </a:p>
        </p:txBody>
      </p:sp>
      <p:sp>
        <p:nvSpPr>
          <p:cNvPr id="128" name="Text Placeholder 3">
            <a:extLst>
              <a:ext uri="{FF2B5EF4-FFF2-40B4-BE49-F238E27FC236}">
                <a16:creationId xmlns:a16="http://schemas.microsoft.com/office/drawing/2014/main" id="{E8025EBA-5D54-9D4D-A468-CDB58384101B}"/>
              </a:ext>
            </a:extLst>
          </p:cNvPr>
          <p:cNvSpPr>
            <a:spLocks noGrp="1"/>
          </p:cNvSpPr>
          <p:nvPr>
            <p:ph type="body" sz="quarter" idx="25"/>
          </p:nvPr>
        </p:nvSpPr>
        <p:spPr>
          <a:xfrm>
            <a:off x="7702233" y="2192061"/>
            <a:ext cx="6171289" cy="667748"/>
          </a:xfrm>
        </p:spPr>
        <p:txBody>
          <a:bodyPr/>
          <a:lstStyle>
            <a:lvl1pPr marL="0" indent="0">
              <a:buNone/>
              <a:defRPr sz="1800" b="0"/>
            </a:lvl1pPr>
          </a:lstStyle>
          <a:p>
            <a:pPr lvl="0"/>
            <a:r>
              <a:rPr lang="en-US"/>
              <a:t>Click to edit</a:t>
            </a:r>
          </a:p>
        </p:txBody>
      </p:sp>
      <p:sp>
        <p:nvSpPr>
          <p:cNvPr id="129" name="Text Placeholder 3">
            <a:extLst>
              <a:ext uri="{FF2B5EF4-FFF2-40B4-BE49-F238E27FC236}">
                <a16:creationId xmlns:a16="http://schemas.microsoft.com/office/drawing/2014/main" id="{A8421254-0C37-1340-A955-658F91F3D6CF}"/>
              </a:ext>
            </a:extLst>
          </p:cNvPr>
          <p:cNvSpPr>
            <a:spLocks noGrp="1"/>
          </p:cNvSpPr>
          <p:nvPr>
            <p:ph type="body" sz="quarter" idx="26"/>
          </p:nvPr>
        </p:nvSpPr>
        <p:spPr>
          <a:xfrm>
            <a:off x="7702233" y="3732104"/>
            <a:ext cx="6171289" cy="667748"/>
          </a:xfrm>
        </p:spPr>
        <p:txBody>
          <a:bodyPr/>
          <a:lstStyle>
            <a:lvl1pPr marL="0" indent="0">
              <a:buNone/>
              <a:defRPr sz="1800" b="0"/>
            </a:lvl1pPr>
          </a:lstStyle>
          <a:p>
            <a:pPr lvl="0"/>
            <a:r>
              <a:rPr lang="en-US"/>
              <a:t>Click to edit</a:t>
            </a:r>
          </a:p>
        </p:txBody>
      </p:sp>
      <p:sp>
        <p:nvSpPr>
          <p:cNvPr id="130" name="Text Placeholder 3">
            <a:extLst>
              <a:ext uri="{FF2B5EF4-FFF2-40B4-BE49-F238E27FC236}">
                <a16:creationId xmlns:a16="http://schemas.microsoft.com/office/drawing/2014/main" id="{B6CFDC65-8D2B-1B44-AF80-E7289A82E8B0}"/>
              </a:ext>
            </a:extLst>
          </p:cNvPr>
          <p:cNvSpPr>
            <a:spLocks noGrp="1"/>
          </p:cNvSpPr>
          <p:nvPr>
            <p:ph type="body" sz="quarter" idx="27"/>
          </p:nvPr>
        </p:nvSpPr>
        <p:spPr>
          <a:xfrm>
            <a:off x="702748" y="3756165"/>
            <a:ext cx="6171296" cy="667748"/>
          </a:xfrm>
        </p:spPr>
        <p:txBody>
          <a:bodyPr/>
          <a:lstStyle>
            <a:lvl1pPr marL="0" indent="0">
              <a:buNone/>
              <a:defRPr sz="1800" b="0"/>
            </a:lvl1pPr>
          </a:lstStyle>
          <a:p>
            <a:pPr lvl="0"/>
            <a:r>
              <a:rPr lang="en-US"/>
              <a:t>Click to edit</a:t>
            </a:r>
          </a:p>
        </p:txBody>
      </p:sp>
      <p:sp>
        <p:nvSpPr>
          <p:cNvPr id="131" name="Text Placeholder 3">
            <a:extLst>
              <a:ext uri="{FF2B5EF4-FFF2-40B4-BE49-F238E27FC236}">
                <a16:creationId xmlns:a16="http://schemas.microsoft.com/office/drawing/2014/main" id="{F7EA9FAB-CB05-354A-92B0-151C3E246E00}"/>
              </a:ext>
            </a:extLst>
          </p:cNvPr>
          <p:cNvSpPr>
            <a:spLocks noGrp="1"/>
          </p:cNvSpPr>
          <p:nvPr>
            <p:ph type="body" sz="quarter" idx="28"/>
          </p:nvPr>
        </p:nvSpPr>
        <p:spPr>
          <a:xfrm>
            <a:off x="702751" y="3107686"/>
            <a:ext cx="2982913" cy="623563"/>
          </a:xfrm>
        </p:spPr>
        <p:txBody>
          <a:bodyPr/>
          <a:lstStyle>
            <a:lvl1pPr marL="0" indent="0">
              <a:buNone/>
              <a:defRPr sz="3600" b="1">
                <a:solidFill>
                  <a:srgbClr val="C8102E"/>
                </a:solidFill>
              </a:defRPr>
            </a:lvl1pPr>
          </a:lstStyle>
          <a:p>
            <a:pPr lvl="0"/>
            <a:r>
              <a:rPr lang="en-US"/>
              <a:t>Click to edit</a:t>
            </a:r>
          </a:p>
        </p:txBody>
      </p:sp>
      <p:sp>
        <p:nvSpPr>
          <p:cNvPr id="132" name="Text Placeholder 3">
            <a:extLst>
              <a:ext uri="{FF2B5EF4-FFF2-40B4-BE49-F238E27FC236}">
                <a16:creationId xmlns:a16="http://schemas.microsoft.com/office/drawing/2014/main" id="{645A9CA8-A3F7-B042-94B5-20E5D5443E68}"/>
              </a:ext>
            </a:extLst>
          </p:cNvPr>
          <p:cNvSpPr>
            <a:spLocks noGrp="1"/>
          </p:cNvSpPr>
          <p:nvPr>
            <p:ph type="body" sz="quarter" idx="29"/>
          </p:nvPr>
        </p:nvSpPr>
        <p:spPr>
          <a:xfrm>
            <a:off x="7704710" y="3107686"/>
            <a:ext cx="2982913" cy="623563"/>
          </a:xfrm>
        </p:spPr>
        <p:txBody>
          <a:bodyPr/>
          <a:lstStyle>
            <a:lvl1pPr marL="0" indent="0">
              <a:buNone/>
              <a:defRPr sz="3600" b="1">
                <a:solidFill>
                  <a:srgbClr val="000099"/>
                </a:solidFill>
              </a:defRPr>
            </a:lvl1pPr>
          </a:lstStyle>
          <a:p>
            <a:pPr lvl="0"/>
            <a:r>
              <a:rPr lang="en-US"/>
              <a:t>Click to edit</a:t>
            </a:r>
          </a:p>
        </p:txBody>
      </p:sp>
      <p:sp>
        <p:nvSpPr>
          <p:cNvPr id="133" name="Text Placeholder 3">
            <a:extLst>
              <a:ext uri="{FF2B5EF4-FFF2-40B4-BE49-F238E27FC236}">
                <a16:creationId xmlns:a16="http://schemas.microsoft.com/office/drawing/2014/main" id="{FA6865A7-8B86-CC46-8E6C-77BFB9DA56F4}"/>
              </a:ext>
            </a:extLst>
          </p:cNvPr>
          <p:cNvSpPr>
            <a:spLocks noGrp="1"/>
          </p:cNvSpPr>
          <p:nvPr>
            <p:ph type="body" sz="quarter" idx="30"/>
          </p:nvPr>
        </p:nvSpPr>
        <p:spPr>
          <a:xfrm>
            <a:off x="4461003" y="4747881"/>
            <a:ext cx="2565442" cy="478186"/>
          </a:xfrm>
        </p:spPr>
        <p:txBody>
          <a:bodyPr/>
          <a:lstStyle>
            <a:lvl1pPr marL="0" indent="0">
              <a:buNone/>
              <a:defRPr sz="2400" b="1"/>
            </a:lvl1pPr>
          </a:lstStyle>
          <a:p>
            <a:pPr lvl="0"/>
            <a:r>
              <a:rPr lang="en-US"/>
              <a:t>Click to edit</a:t>
            </a:r>
          </a:p>
        </p:txBody>
      </p:sp>
      <p:sp>
        <p:nvSpPr>
          <p:cNvPr id="134" name="Text Placeholder 3">
            <a:extLst>
              <a:ext uri="{FF2B5EF4-FFF2-40B4-BE49-F238E27FC236}">
                <a16:creationId xmlns:a16="http://schemas.microsoft.com/office/drawing/2014/main" id="{0A2E19B2-26BC-E24B-B176-0B3724CED714}"/>
              </a:ext>
            </a:extLst>
          </p:cNvPr>
          <p:cNvSpPr>
            <a:spLocks noGrp="1"/>
          </p:cNvSpPr>
          <p:nvPr>
            <p:ph type="body" sz="quarter" idx="31"/>
          </p:nvPr>
        </p:nvSpPr>
        <p:spPr>
          <a:xfrm>
            <a:off x="11358521" y="4747881"/>
            <a:ext cx="2565442" cy="478186"/>
          </a:xfrm>
        </p:spPr>
        <p:txBody>
          <a:bodyPr/>
          <a:lstStyle>
            <a:lvl1pPr marL="0" indent="0">
              <a:buNone/>
              <a:defRPr sz="2400" b="1"/>
            </a:lvl1pPr>
          </a:lstStyle>
          <a:p>
            <a:pPr lvl="0"/>
            <a:r>
              <a:rPr lang="en-US"/>
              <a:t>Click to edit</a:t>
            </a:r>
          </a:p>
        </p:txBody>
      </p:sp>
      <p:sp>
        <p:nvSpPr>
          <p:cNvPr id="135" name="Text Placeholder 3">
            <a:extLst>
              <a:ext uri="{FF2B5EF4-FFF2-40B4-BE49-F238E27FC236}">
                <a16:creationId xmlns:a16="http://schemas.microsoft.com/office/drawing/2014/main" id="{ED4F9BBA-DC29-EB43-8720-94418E10EE8F}"/>
              </a:ext>
            </a:extLst>
          </p:cNvPr>
          <p:cNvSpPr>
            <a:spLocks noGrp="1"/>
          </p:cNvSpPr>
          <p:nvPr>
            <p:ph type="body" sz="quarter" idx="32"/>
          </p:nvPr>
        </p:nvSpPr>
        <p:spPr>
          <a:xfrm>
            <a:off x="11358523" y="5378469"/>
            <a:ext cx="2565440" cy="1401834"/>
          </a:xfrm>
        </p:spPr>
        <p:txBody>
          <a:bodyPr/>
          <a:lstStyle>
            <a:lvl1pPr marL="237725" indent="-237725">
              <a:spcBef>
                <a:spcPts val="960"/>
              </a:spcBef>
              <a:buFont typeface="Arial" panose="020B0604020202020204" pitchFamily="34" charset="0"/>
              <a:buChar char="•"/>
              <a:defRPr sz="1800" b="0"/>
            </a:lvl1pPr>
          </a:lstStyle>
          <a:p>
            <a:pPr lvl="0"/>
            <a:r>
              <a:rPr lang="en-US"/>
              <a:t>Click to edit</a:t>
            </a:r>
          </a:p>
        </p:txBody>
      </p:sp>
      <p:sp>
        <p:nvSpPr>
          <p:cNvPr id="136" name="Text Placeholder 3">
            <a:extLst>
              <a:ext uri="{FF2B5EF4-FFF2-40B4-BE49-F238E27FC236}">
                <a16:creationId xmlns:a16="http://schemas.microsoft.com/office/drawing/2014/main" id="{7B8A0F17-F2BD-394C-92FC-2DBDFCA33016}"/>
              </a:ext>
            </a:extLst>
          </p:cNvPr>
          <p:cNvSpPr>
            <a:spLocks noGrp="1"/>
          </p:cNvSpPr>
          <p:nvPr>
            <p:ph type="body" sz="quarter" idx="33"/>
          </p:nvPr>
        </p:nvSpPr>
        <p:spPr>
          <a:xfrm>
            <a:off x="4461004" y="5378469"/>
            <a:ext cx="2565440" cy="1401834"/>
          </a:xfrm>
        </p:spPr>
        <p:txBody>
          <a:bodyPr/>
          <a:lstStyle>
            <a:lvl1pPr marL="237725" indent="-237725">
              <a:spcBef>
                <a:spcPts val="960"/>
              </a:spcBef>
              <a:buFont typeface="Arial" panose="020B0604020202020204" pitchFamily="34" charset="0"/>
              <a:buChar char="•"/>
              <a:defRPr sz="1800" b="0"/>
            </a:lvl1pPr>
          </a:lstStyle>
          <a:p>
            <a:pPr lvl="0"/>
            <a:r>
              <a:rPr lang="en-US"/>
              <a:t>Click to edit</a:t>
            </a:r>
          </a:p>
        </p:txBody>
      </p:sp>
      <p:sp>
        <p:nvSpPr>
          <p:cNvPr id="139" name="Text Placeholder 19">
            <a:extLst>
              <a:ext uri="{FF2B5EF4-FFF2-40B4-BE49-F238E27FC236}">
                <a16:creationId xmlns:a16="http://schemas.microsoft.com/office/drawing/2014/main" id="{AB62CD71-349B-B24A-A648-B473B71EBA08}"/>
              </a:ext>
            </a:extLst>
          </p:cNvPr>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40" name="Text Placeholder 3">
            <a:extLst>
              <a:ext uri="{FF2B5EF4-FFF2-40B4-BE49-F238E27FC236}">
                <a16:creationId xmlns:a16="http://schemas.microsoft.com/office/drawing/2014/main" id="{08B2C4DA-8D4A-044D-A18A-5259A6645CAD}"/>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45" name="Text Placeholder 3">
            <a:extLst>
              <a:ext uri="{FF2B5EF4-FFF2-40B4-BE49-F238E27FC236}">
                <a16:creationId xmlns:a16="http://schemas.microsoft.com/office/drawing/2014/main" id="{69F5B089-344B-D340-86E0-371125C2F054}"/>
              </a:ext>
            </a:extLst>
          </p:cNvPr>
          <p:cNvSpPr>
            <a:spLocks noGrp="1"/>
          </p:cNvSpPr>
          <p:nvPr>
            <p:ph type="body" sz="quarter" idx="34"/>
          </p:nvPr>
        </p:nvSpPr>
        <p:spPr>
          <a:xfrm>
            <a:off x="9395932" y="5378469"/>
            <a:ext cx="1726770" cy="1401834"/>
          </a:xfrm>
        </p:spPr>
        <p:txBody>
          <a:bodyPr/>
          <a:lstStyle>
            <a:lvl1pPr marL="0" indent="0">
              <a:buFont typeface="Arial" panose="020B0604020202020204" pitchFamily="34" charset="0"/>
              <a:buNone/>
              <a:defRPr sz="1800" b="0"/>
            </a:lvl1pPr>
          </a:lstStyle>
          <a:p>
            <a:pPr lvl="0"/>
            <a:r>
              <a:rPr lang="en-US"/>
              <a:t>Click to edit</a:t>
            </a:r>
          </a:p>
        </p:txBody>
      </p:sp>
      <p:sp>
        <p:nvSpPr>
          <p:cNvPr id="147" name="Text Placeholder 3">
            <a:extLst>
              <a:ext uri="{FF2B5EF4-FFF2-40B4-BE49-F238E27FC236}">
                <a16:creationId xmlns:a16="http://schemas.microsoft.com/office/drawing/2014/main" id="{4E273F30-D965-9848-9A7C-C3F20398BD9D}"/>
              </a:ext>
            </a:extLst>
          </p:cNvPr>
          <p:cNvSpPr>
            <a:spLocks noGrp="1"/>
          </p:cNvSpPr>
          <p:nvPr>
            <p:ph type="body" sz="quarter" idx="36" hasCustomPrompt="1"/>
          </p:nvPr>
        </p:nvSpPr>
        <p:spPr>
          <a:xfrm>
            <a:off x="9395935" y="4678451"/>
            <a:ext cx="1726769" cy="623563"/>
          </a:xfrm>
        </p:spPr>
        <p:txBody>
          <a:bodyPr/>
          <a:lstStyle>
            <a:lvl1pPr marL="0" indent="0">
              <a:buNone/>
              <a:defRPr sz="4400" b="1">
                <a:solidFill>
                  <a:srgbClr val="000099"/>
                </a:solidFill>
              </a:defRPr>
            </a:lvl1pPr>
          </a:lstStyle>
          <a:p>
            <a:pPr lvl="0"/>
            <a:r>
              <a:rPr lang="en-US"/>
              <a:t>edit</a:t>
            </a:r>
          </a:p>
        </p:txBody>
      </p:sp>
      <p:sp>
        <p:nvSpPr>
          <p:cNvPr id="25" name="Slide Number Placeholder 5">
            <a:extLst>
              <a:ext uri="{FF2B5EF4-FFF2-40B4-BE49-F238E27FC236}">
                <a16:creationId xmlns:a16="http://schemas.microsoft.com/office/drawing/2014/main" id="{05DEF135-9169-A349-9501-72BA8764E9DA}"/>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4" name="Text Placeholder 3">
            <a:extLst>
              <a:ext uri="{FF2B5EF4-FFF2-40B4-BE49-F238E27FC236}">
                <a16:creationId xmlns:a16="http://schemas.microsoft.com/office/drawing/2014/main" id="{7F9474BB-DCE7-4B4C-AE76-9482A8AE0480}"/>
              </a:ext>
            </a:extLst>
          </p:cNvPr>
          <p:cNvSpPr>
            <a:spLocks noGrp="1"/>
          </p:cNvSpPr>
          <p:nvPr>
            <p:ph type="body" sz="quarter" idx="37"/>
          </p:nvPr>
        </p:nvSpPr>
        <p:spPr>
          <a:xfrm>
            <a:off x="2560419" y="5378469"/>
            <a:ext cx="1694747" cy="1401834"/>
          </a:xfrm>
        </p:spPr>
        <p:txBody>
          <a:bodyPr/>
          <a:lstStyle>
            <a:lvl1pPr marL="0" indent="0">
              <a:buFont typeface="Arial" panose="020B0604020202020204" pitchFamily="34" charset="0"/>
              <a:buNone/>
              <a:defRPr sz="1800" b="0"/>
            </a:lvl1pPr>
          </a:lstStyle>
          <a:p>
            <a:pPr lvl="0"/>
            <a:r>
              <a:rPr lang="en-US"/>
              <a:t>Click to edit</a:t>
            </a:r>
          </a:p>
        </p:txBody>
      </p:sp>
      <p:sp>
        <p:nvSpPr>
          <p:cNvPr id="26" name="Text Placeholder 3">
            <a:extLst>
              <a:ext uri="{FF2B5EF4-FFF2-40B4-BE49-F238E27FC236}">
                <a16:creationId xmlns:a16="http://schemas.microsoft.com/office/drawing/2014/main" id="{D197E88C-0BB2-C64B-90C6-7FEB4CEAAAA6}"/>
              </a:ext>
            </a:extLst>
          </p:cNvPr>
          <p:cNvSpPr>
            <a:spLocks noGrp="1"/>
          </p:cNvSpPr>
          <p:nvPr>
            <p:ph type="body" sz="quarter" idx="38" hasCustomPrompt="1"/>
          </p:nvPr>
        </p:nvSpPr>
        <p:spPr>
          <a:xfrm>
            <a:off x="2560419" y="4678451"/>
            <a:ext cx="1694746" cy="623563"/>
          </a:xfrm>
        </p:spPr>
        <p:txBody>
          <a:bodyPr/>
          <a:lstStyle>
            <a:lvl1pPr marL="0" indent="0">
              <a:buNone/>
              <a:defRPr sz="4400" b="1">
                <a:solidFill>
                  <a:srgbClr val="C8102E"/>
                </a:solidFill>
              </a:defRPr>
            </a:lvl1pPr>
          </a:lstStyle>
          <a:p>
            <a:pPr lvl="0"/>
            <a:r>
              <a:rPr lang="en-US"/>
              <a:t>edit</a:t>
            </a:r>
          </a:p>
        </p:txBody>
      </p:sp>
    </p:spTree>
    <p:extLst>
      <p:ext uri="{BB962C8B-B14F-4D97-AF65-F5344CB8AC3E}">
        <p14:creationId xmlns:p14="http://schemas.microsoft.com/office/powerpoint/2010/main" val="2970443506"/>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1"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7" name="Text Placeholder 3">
            <a:extLst>
              <a:ext uri="{FF2B5EF4-FFF2-40B4-BE49-F238E27FC236}">
                <a16:creationId xmlns:a16="http://schemas.microsoft.com/office/drawing/2014/main" id="{7EBCD416-E180-4844-AE7C-E86754B55E25}"/>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917187959"/>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055815"/>
            <a:ext cx="13177520" cy="5466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500"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9" name="Text Placeholder 8"/>
          <p:cNvSpPr>
            <a:spLocks noGrp="1"/>
          </p:cNvSpPr>
          <p:nvPr>
            <p:ph type="body" sz="quarter" idx="11"/>
          </p:nvPr>
        </p:nvSpPr>
        <p:spPr>
          <a:xfrm>
            <a:off x="726441" y="2912748"/>
            <a:ext cx="13177520" cy="414635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7"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C43E0D67-8D13-E647-B59C-D9F54B974EBC}"/>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44616704"/>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394476"/>
            <a:ext cx="1317752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4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5"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7" name="Text Placeholder 3">
            <a:extLst>
              <a:ext uri="{FF2B5EF4-FFF2-40B4-BE49-F238E27FC236}">
                <a16:creationId xmlns:a16="http://schemas.microsoft.com/office/drawing/2014/main" id="{D0A5A7B7-A1D0-FE41-896A-B621B4C61E68}"/>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27726519"/>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26442" y="2055501"/>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7422778" y="2055497"/>
            <a:ext cx="6482080" cy="5003610"/>
          </a:xfrm>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531616899"/>
      </p:ext>
    </p:extLst>
  </p:cSld>
  <p:clrMapOvr>
    <a:masterClrMapping/>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io layou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26442" y="2055501"/>
            <a:ext cx="6482080" cy="5003608"/>
          </a:xfrm>
        </p:spPr>
        <p:txBody>
          <a:bodyPr/>
          <a:lstStyle>
            <a:lvl1pPr marL="0" indent="0">
              <a:buNone/>
              <a:defRPr>
                <a:solidFill>
                  <a:srgbClr val="595959"/>
                </a:solidFill>
              </a:defRPr>
            </a:lvl1pPr>
            <a:lvl2pPr marL="260582" indent="0">
              <a:buNone/>
              <a:defRPr>
                <a:solidFill>
                  <a:srgbClr val="595959"/>
                </a:solidFill>
              </a:defRPr>
            </a:lvl2pPr>
            <a:lvl3pPr marL="636371" indent="0">
              <a:buNone/>
              <a:defRPr>
                <a:solidFill>
                  <a:srgbClr val="595959"/>
                </a:solidFill>
              </a:defRPr>
            </a:lvl3pPr>
            <a:lvl4pPr marL="1075248" indent="0">
              <a:buNone/>
              <a:defRPr>
                <a:solidFill>
                  <a:srgbClr val="595959"/>
                </a:solidFill>
              </a:defRPr>
            </a:lvl4pPr>
            <a:lvl5pPr marL="1556070" indent="0">
              <a:buNone/>
              <a:defRPr>
                <a:solidFill>
                  <a:srgbClr val="595959"/>
                </a:solidFill>
              </a:defRPr>
            </a:lvl5pPr>
          </a:lstStyle>
          <a:p>
            <a:pPr lvl="0"/>
            <a:r>
              <a:rPr lang="en-US"/>
              <a:t>Edit Master text styles</a:t>
            </a:r>
          </a:p>
        </p:txBody>
      </p:sp>
      <p:sp>
        <p:nvSpPr>
          <p:cNvPr id="19"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4" name="Title 1"/>
          <p:cNvSpPr>
            <a:spLocks noGrp="1"/>
          </p:cNvSpPr>
          <p:nvPr>
            <p:ph type="title"/>
          </p:nvPr>
        </p:nvSpPr>
        <p:spPr>
          <a:xfrm>
            <a:off x="726442" y="454152"/>
            <a:ext cx="6588760" cy="692497"/>
          </a:xfrm>
        </p:spPr>
        <p:txBody>
          <a:bodyPr/>
          <a:lstStyle>
            <a:lvl1pPr>
              <a:defRPr kern="1500" spc="-100" baseline="0">
                <a:solidFill>
                  <a:schemeClr val="tx1"/>
                </a:solidFill>
              </a:defRPr>
            </a:lvl1pPr>
          </a:lstStyle>
          <a:p>
            <a:r>
              <a:rPr lang="en-US"/>
              <a:t>Click to edit Master title</a:t>
            </a:r>
          </a:p>
        </p:txBody>
      </p:sp>
      <p:sp>
        <p:nvSpPr>
          <p:cNvPr id="10" name="Text Placeholder 3">
            <a:extLst>
              <a:ext uri="{FF2B5EF4-FFF2-40B4-BE49-F238E27FC236}">
                <a16:creationId xmlns:a16="http://schemas.microsoft.com/office/drawing/2014/main" id="{635EB5D6-23EB-F942-95D9-91F16E09314E}"/>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Content Placeholder 30">
            <a:extLst>
              <a:ext uri="{FF2B5EF4-FFF2-40B4-BE49-F238E27FC236}">
                <a16:creationId xmlns:a16="http://schemas.microsoft.com/office/drawing/2014/main" id="{37E9AC5D-F6EB-CE40-9936-5793341DCC66}"/>
              </a:ext>
            </a:extLst>
          </p:cNvPr>
          <p:cNvSpPr>
            <a:spLocks noGrp="1"/>
          </p:cNvSpPr>
          <p:nvPr>
            <p:ph sz="quarter" idx="18"/>
          </p:nvPr>
        </p:nvSpPr>
        <p:spPr>
          <a:xfrm>
            <a:off x="7755027" y="952799"/>
            <a:ext cx="6164354" cy="6163459"/>
          </a:xfrm>
        </p:spPr>
        <p:txBody>
          <a:bodyPr/>
          <a:lstStyle/>
          <a:p>
            <a:endParaRPr lang="en-US"/>
          </a:p>
        </p:txBody>
      </p:sp>
      <p:sp>
        <p:nvSpPr>
          <p:cNvPr id="18" name="Text Placeholder 4">
            <a:extLst>
              <a:ext uri="{FF2B5EF4-FFF2-40B4-BE49-F238E27FC236}">
                <a16:creationId xmlns:a16="http://schemas.microsoft.com/office/drawing/2014/main" id="{9F61B276-111F-0F49-AA22-140F5A6A7DE0}"/>
              </a:ext>
            </a:extLst>
          </p:cNvPr>
          <p:cNvSpPr>
            <a:spLocks noGrp="1"/>
          </p:cNvSpPr>
          <p:nvPr>
            <p:ph type="body" sz="quarter" idx="10"/>
          </p:nvPr>
        </p:nvSpPr>
        <p:spPr>
          <a:xfrm>
            <a:off x="726442" y="1222849"/>
            <a:ext cx="5526079"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1453538890"/>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7" name="Content Placeholder 11"/>
          <p:cNvSpPr>
            <a:spLocks noGrp="1"/>
          </p:cNvSpPr>
          <p:nvPr>
            <p:ph sz="quarter" idx="26"/>
          </p:nvPr>
        </p:nvSpPr>
        <p:spPr>
          <a:xfrm>
            <a:off x="5206702" y="2021631"/>
            <a:ext cx="8697258" cy="5037476"/>
          </a:xfrm>
        </p:spPr>
        <p:txBody>
          <a:bodyPr/>
          <a:lstStyle>
            <a:lvl1pPr marL="0" indent="0">
              <a:buNone/>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p:cNvSpPr>
            <a:spLocks noGrp="1"/>
          </p:cNvSpPr>
          <p:nvPr>
            <p:ph type="body" sz="quarter" idx="27" hasCustomPrompt="1"/>
          </p:nvPr>
        </p:nvSpPr>
        <p:spPr>
          <a:xfrm>
            <a:off x="737871" y="2055501"/>
            <a:ext cx="4199890" cy="5003608"/>
          </a:xfrm>
        </p:spPr>
        <p:txBody>
          <a:bodyPr/>
          <a:lstStyle>
            <a:lvl1pPr>
              <a:defRPr sz="2500">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p:txBody>
      </p:sp>
      <p:sp>
        <p:nvSpPr>
          <p:cNvPr id="19"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730864748"/>
      </p:ext>
    </p:extLst>
  </p:cSld>
  <p:clrMapOvr>
    <a:masterClrMapping/>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9" name="Title 1"/>
          <p:cNvSpPr>
            <a:spLocks noGrp="1"/>
          </p:cNvSpPr>
          <p:nvPr>
            <p:ph type="title"/>
          </p:nvPr>
        </p:nvSpPr>
        <p:spPr>
          <a:xfrm>
            <a:off x="726441" y="454152"/>
            <a:ext cx="13177520" cy="692497"/>
          </a:xfrm>
        </p:spPr>
        <p:txBody>
          <a:bodyPr/>
          <a:lstStyle>
            <a:lvl1pPr>
              <a:defRPr kern="1500" spc="-100" baseline="0">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8DE20B1F-CDF1-1941-84C9-8E4220817362}"/>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Slide Number Placeholder 5">
            <a:extLst>
              <a:ext uri="{FF2B5EF4-FFF2-40B4-BE49-F238E27FC236}">
                <a16:creationId xmlns:a16="http://schemas.microsoft.com/office/drawing/2014/main" id="{A1F18C78-6B4E-4741-AC78-006AA2AF011E}"/>
              </a:ext>
            </a:extLst>
          </p:cNvPr>
          <p:cNvSpPr txBox="1">
            <a:spLocks/>
          </p:cNvSpPr>
          <p:nvPr userDrawn="1"/>
        </p:nvSpPr>
        <p:spPr>
          <a:xfrm>
            <a:off x="29753136"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C8102E"/>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pPr/>
              <a:t>‹#›</a:t>
            </a:fld>
            <a:endParaRPr lang="en-US" sz="960" dirty="0"/>
          </a:p>
        </p:txBody>
      </p:sp>
      <p:sp>
        <p:nvSpPr>
          <p:cNvPr id="23" name="Picture Placeholder 2">
            <a:extLst>
              <a:ext uri="{FF2B5EF4-FFF2-40B4-BE49-F238E27FC236}">
                <a16:creationId xmlns:a16="http://schemas.microsoft.com/office/drawing/2014/main" id="{02648577-FAC1-4B4E-BFCD-47D88E7BA13C}"/>
              </a:ext>
            </a:extLst>
          </p:cNvPr>
          <p:cNvSpPr>
            <a:spLocks noGrp="1"/>
          </p:cNvSpPr>
          <p:nvPr>
            <p:ph type="pic" sz="quarter" idx="33"/>
          </p:nvPr>
        </p:nvSpPr>
        <p:spPr>
          <a:xfrm>
            <a:off x="729615" y="2021632"/>
            <a:ext cx="4216400" cy="5037476"/>
          </a:xfrm>
        </p:spPr>
        <p:txBody>
          <a:bodyPr/>
          <a:lstStyle/>
          <a:p>
            <a:endParaRPr lang="en-US" dirty="0"/>
          </a:p>
        </p:txBody>
      </p:sp>
      <p:sp>
        <p:nvSpPr>
          <p:cNvPr id="24" name="Text Placeholder 4">
            <a:extLst>
              <a:ext uri="{FF2B5EF4-FFF2-40B4-BE49-F238E27FC236}">
                <a16:creationId xmlns:a16="http://schemas.microsoft.com/office/drawing/2014/main" id="{88000DC0-46E4-F848-8F95-4855A6A28DFB}"/>
              </a:ext>
            </a:extLst>
          </p:cNvPr>
          <p:cNvSpPr>
            <a:spLocks noGrp="1"/>
          </p:cNvSpPr>
          <p:nvPr>
            <p:ph type="body" sz="quarter" idx="34"/>
          </p:nvPr>
        </p:nvSpPr>
        <p:spPr>
          <a:xfrm>
            <a:off x="5207002" y="2020888"/>
            <a:ext cx="8705850" cy="5037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175414"/>
      </p:ext>
    </p:extLst>
  </p:cSld>
  <p:clrMapOvr>
    <a:masterClrMapping/>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501"/>
            <a:ext cx="6482080" cy="500360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2" y="2055497"/>
            <a:ext cx="6482080" cy="5003608"/>
          </a:xfrm>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2384627933"/>
      </p:ext>
    </p:extLst>
  </p:cSld>
  <p:clrMapOvr>
    <a:masterClrMapping/>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ub, RIGHT HALF bullets">
    <p:bg>
      <p:bgPr>
        <a:solidFill>
          <a:schemeClr val="bg1"/>
        </a:solidFill>
        <a:effectLst/>
      </p:bgPr>
    </p:bg>
    <p:spTree>
      <p:nvGrpSpPr>
        <p:cNvPr id="1" name=""/>
        <p:cNvGrpSpPr/>
        <p:nvPr/>
      </p:nvGrpSpPr>
      <p:grpSpPr>
        <a:xfrm>
          <a:off x="0" y="0"/>
          <a:ext cx="0" cy="0"/>
          <a:chOff x="0" y="0"/>
          <a:chExt cx="0" cy="0"/>
        </a:xfrm>
      </p:grpSpPr>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0" name="Text Placeholder 3">
            <a:extLst>
              <a:ext uri="{FF2B5EF4-FFF2-40B4-BE49-F238E27FC236}">
                <a16:creationId xmlns:a16="http://schemas.microsoft.com/office/drawing/2014/main" id="{B00874CD-4B55-8843-A4E7-1C142C41B486}"/>
              </a:ext>
            </a:extLst>
          </p:cNvPr>
          <p:cNvSpPr>
            <a:spLocks noGrp="1"/>
          </p:cNvSpPr>
          <p:nvPr>
            <p:ph type="body" sz="quarter" idx="17"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9" name="Title 1">
            <a:extLst>
              <a:ext uri="{FF2B5EF4-FFF2-40B4-BE49-F238E27FC236}">
                <a16:creationId xmlns:a16="http://schemas.microsoft.com/office/drawing/2014/main" id="{E828FD4B-D725-0F4E-A919-F9E505C0109C}"/>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
        <p:nvSpPr>
          <p:cNvPr id="13" name="Rectangle 12">
            <a:extLst>
              <a:ext uri="{FF2B5EF4-FFF2-40B4-BE49-F238E27FC236}">
                <a16:creationId xmlns:a16="http://schemas.microsoft.com/office/drawing/2014/main" id="{EB726643-E58E-CC48-AF17-2A78BB6C30D4}"/>
              </a:ext>
            </a:extLst>
          </p:cNvPr>
          <p:cNvSpPr/>
          <p:nvPr userDrawn="1"/>
        </p:nvSpPr>
        <p:spPr bwMode="auto">
          <a:xfrm>
            <a:off x="721361" y="1634148"/>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12E188AA-0D2B-E449-A0C8-1EFBC82B9C91}"/>
              </a:ext>
            </a:extLst>
          </p:cNvPr>
          <p:cNvSpPr/>
          <p:nvPr userDrawn="1"/>
        </p:nvSpPr>
        <p:spPr bwMode="auto">
          <a:xfrm>
            <a:off x="10811607" y="1634148"/>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3C5CF704-52FC-5740-8859-CC46FFF32894}"/>
              </a:ext>
            </a:extLst>
          </p:cNvPr>
          <p:cNvSpPr/>
          <p:nvPr userDrawn="1"/>
        </p:nvSpPr>
        <p:spPr bwMode="auto">
          <a:xfrm>
            <a:off x="4090889" y="1634148"/>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Rectangle 16">
            <a:extLst>
              <a:ext uri="{FF2B5EF4-FFF2-40B4-BE49-F238E27FC236}">
                <a16:creationId xmlns:a16="http://schemas.microsoft.com/office/drawing/2014/main" id="{63914D36-44F9-2F48-BE16-3B089B393692}"/>
              </a:ext>
            </a:extLst>
          </p:cNvPr>
          <p:cNvSpPr/>
          <p:nvPr userDrawn="1"/>
        </p:nvSpPr>
        <p:spPr bwMode="auto">
          <a:xfrm>
            <a:off x="7451248" y="1634148"/>
            <a:ext cx="3092356" cy="5584015"/>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rgbClr val="D8D8D8"/>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 Placeholder 12">
            <a:extLst>
              <a:ext uri="{FF2B5EF4-FFF2-40B4-BE49-F238E27FC236}">
                <a16:creationId xmlns:a16="http://schemas.microsoft.com/office/drawing/2014/main" id="{98E77801-14E1-F447-BA28-6AB45414E1A8}"/>
              </a:ext>
            </a:extLst>
          </p:cNvPr>
          <p:cNvSpPr txBox="1">
            <a:spLocks/>
          </p:cNvSpPr>
          <p:nvPr userDrawn="1"/>
        </p:nvSpPr>
        <p:spPr>
          <a:xfrm>
            <a:off x="-3261245" y="2449769"/>
            <a:ext cx="2763132" cy="3215052"/>
          </a:xfrm>
          <a:prstGeom prst="rect">
            <a:avLst/>
          </a:prstGeom>
        </p:spPr>
        <p:txBody>
          <a:bodyPr/>
          <a:lstStyle>
            <a:lvl1pPr marL="241402" indent="-285293"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40" indent="-28803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824" indent="-24140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736" indent="-24140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557" indent="-22936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468"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a:lstStyle>
          <a:p>
            <a:pPr marL="0" indent="0" defTabSz="914328">
              <a:buNone/>
            </a:pPr>
            <a:endParaRPr lang="en-US" sz="1800" kern="0" dirty="0"/>
          </a:p>
        </p:txBody>
      </p:sp>
      <p:sp>
        <p:nvSpPr>
          <p:cNvPr id="27" name="Text Placeholder 2">
            <a:extLst>
              <a:ext uri="{FF2B5EF4-FFF2-40B4-BE49-F238E27FC236}">
                <a16:creationId xmlns:a16="http://schemas.microsoft.com/office/drawing/2014/main" id="{D3DE7820-60D0-2A47-98FB-E1D6F0ECB6D9}"/>
              </a:ext>
            </a:extLst>
          </p:cNvPr>
          <p:cNvSpPr>
            <a:spLocks noGrp="1"/>
          </p:cNvSpPr>
          <p:nvPr>
            <p:ph type="body" sz="quarter" idx="18"/>
          </p:nvPr>
        </p:nvSpPr>
        <p:spPr>
          <a:xfrm>
            <a:off x="893764" y="1870077"/>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28" name="Text Placeholder 2">
            <a:extLst>
              <a:ext uri="{FF2B5EF4-FFF2-40B4-BE49-F238E27FC236}">
                <a16:creationId xmlns:a16="http://schemas.microsoft.com/office/drawing/2014/main" id="{46258EAD-CB9B-C745-A692-276ADD6A527E}"/>
              </a:ext>
            </a:extLst>
          </p:cNvPr>
          <p:cNvSpPr>
            <a:spLocks noGrp="1"/>
          </p:cNvSpPr>
          <p:nvPr>
            <p:ph type="body" sz="quarter" idx="19"/>
          </p:nvPr>
        </p:nvSpPr>
        <p:spPr>
          <a:xfrm>
            <a:off x="4358860" y="1870077"/>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0" name="Text Placeholder 2">
            <a:extLst>
              <a:ext uri="{FF2B5EF4-FFF2-40B4-BE49-F238E27FC236}">
                <a16:creationId xmlns:a16="http://schemas.microsoft.com/office/drawing/2014/main" id="{8F6C0358-B85F-6E44-A9CD-2F332E6CD4B9}"/>
              </a:ext>
            </a:extLst>
          </p:cNvPr>
          <p:cNvSpPr>
            <a:spLocks noGrp="1"/>
          </p:cNvSpPr>
          <p:nvPr>
            <p:ph type="body" sz="quarter" idx="20"/>
          </p:nvPr>
        </p:nvSpPr>
        <p:spPr>
          <a:xfrm>
            <a:off x="7679574" y="1870077"/>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
        <p:nvSpPr>
          <p:cNvPr id="33" name="Text Placeholder 4">
            <a:extLst>
              <a:ext uri="{FF2B5EF4-FFF2-40B4-BE49-F238E27FC236}">
                <a16:creationId xmlns:a16="http://schemas.microsoft.com/office/drawing/2014/main" id="{7E4F1039-CF58-6A43-BB44-5674AA4F98B6}"/>
              </a:ext>
            </a:extLst>
          </p:cNvPr>
          <p:cNvSpPr>
            <a:spLocks noGrp="1"/>
          </p:cNvSpPr>
          <p:nvPr>
            <p:ph type="body" sz="quarter" idx="21"/>
          </p:nvPr>
        </p:nvSpPr>
        <p:spPr>
          <a:xfrm>
            <a:off x="964995" y="2569860"/>
            <a:ext cx="2605088" cy="3214687"/>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4" name="Text Placeholder 4">
            <a:extLst>
              <a:ext uri="{FF2B5EF4-FFF2-40B4-BE49-F238E27FC236}">
                <a16:creationId xmlns:a16="http://schemas.microsoft.com/office/drawing/2014/main" id="{F69411A7-265F-C24E-8A73-1D09829D496C}"/>
              </a:ext>
            </a:extLst>
          </p:cNvPr>
          <p:cNvSpPr>
            <a:spLocks noGrp="1"/>
          </p:cNvSpPr>
          <p:nvPr>
            <p:ph type="body" sz="quarter" idx="22"/>
          </p:nvPr>
        </p:nvSpPr>
        <p:spPr>
          <a:xfrm>
            <a:off x="4367595" y="2582802"/>
            <a:ext cx="2605088" cy="3214687"/>
          </a:xfrm>
        </p:spPr>
        <p:txBody>
          <a:bodyPr/>
          <a:lstStyle>
            <a:lvl1pPr marL="0" indent="0" defTabSz="914328">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5" name="Text Placeholder 4">
            <a:extLst>
              <a:ext uri="{FF2B5EF4-FFF2-40B4-BE49-F238E27FC236}">
                <a16:creationId xmlns:a16="http://schemas.microsoft.com/office/drawing/2014/main" id="{4D589452-3E57-D440-9FB0-6E4868DB139E}"/>
              </a:ext>
            </a:extLst>
          </p:cNvPr>
          <p:cNvSpPr>
            <a:spLocks noGrp="1"/>
          </p:cNvSpPr>
          <p:nvPr>
            <p:ph type="body" sz="quarter" idx="23"/>
          </p:nvPr>
        </p:nvSpPr>
        <p:spPr>
          <a:xfrm>
            <a:off x="7672269" y="2582802"/>
            <a:ext cx="2605088" cy="3214687"/>
          </a:xfrm>
        </p:spPr>
        <p:txBody>
          <a:bodyPr/>
          <a:lstStyle>
            <a:lvl1pPr marL="0" indent="0" defTabSz="914328">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6" name="Text Placeholder 4">
            <a:extLst>
              <a:ext uri="{FF2B5EF4-FFF2-40B4-BE49-F238E27FC236}">
                <a16:creationId xmlns:a16="http://schemas.microsoft.com/office/drawing/2014/main" id="{B4D1912F-14CA-384D-A430-5E9D99E3206C}"/>
              </a:ext>
            </a:extLst>
          </p:cNvPr>
          <p:cNvSpPr>
            <a:spLocks noGrp="1"/>
          </p:cNvSpPr>
          <p:nvPr>
            <p:ph type="body" sz="quarter" idx="24"/>
          </p:nvPr>
        </p:nvSpPr>
        <p:spPr>
          <a:xfrm>
            <a:off x="11025069" y="2582802"/>
            <a:ext cx="2605088" cy="3214687"/>
          </a:xfrm>
        </p:spPr>
        <p:txBody>
          <a:bodyPr/>
          <a:lstStyle>
            <a:lvl1pPr marL="0" indent="0" defTabSz="914328">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37" name="Text Placeholder 2">
            <a:extLst>
              <a:ext uri="{FF2B5EF4-FFF2-40B4-BE49-F238E27FC236}">
                <a16:creationId xmlns:a16="http://schemas.microsoft.com/office/drawing/2014/main" id="{57F6A302-A023-0448-9894-EF9B860FE511}"/>
              </a:ext>
            </a:extLst>
          </p:cNvPr>
          <p:cNvSpPr>
            <a:spLocks noGrp="1"/>
          </p:cNvSpPr>
          <p:nvPr>
            <p:ph type="body" sz="quarter" idx="25"/>
          </p:nvPr>
        </p:nvSpPr>
        <p:spPr>
          <a:xfrm>
            <a:off x="11025070" y="1870077"/>
            <a:ext cx="2603500" cy="485776"/>
          </a:xfrm>
        </p:spPr>
        <p:txBody>
          <a:bodyPr/>
          <a:lstStyle>
            <a:lvl1pPr marL="0" indent="0">
              <a:buNone/>
              <a:defRPr sz="2400" b="1"/>
            </a:lvl1pPr>
            <a:lvl2pPr>
              <a:defRPr sz="2400"/>
            </a:lvl2pPr>
            <a:lvl3pPr>
              <a:defRPr sz="2400"/>
            </a:lvl3pPr>
            <a:lvl4pPr>
              <a:defRPr sz="2400"/>
            </a:lvl4pPr>
            <a:lvl5pPr>
              <a:defRPr sz="2400"/>
            </a:lvl5pPr>
          </a:lstStyle>
          <a:p>
            <a:pPr lvl="0"/>
            <a:r>
              <a:rPr lang="en-US"/>
              <a:t>Click to edit Master</a:t>
            </a:r>
          </a:p>
        </p:txBody>
      </p:sp>
    </p:spTree>
    <p:extLst>
      <p:ext uri="{BB962C8B-B14F-4D97-AF65-F5344CB8AC3E}">
        <p14:creationId xmlns:p14="http://schemas.microsoft.com/office/powerpoint/2010/main" val="251409323"/>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2443BD8-D2F6-8646-B36D-61A3FE18C975}"/>
              </a:ext>
            </a:extLst>
          </p:cNvPr>
          <p:cNvSpPr>
            <a:spLocks noGrp="1"/>
          </p:cNvSpPr>
          <p:nvPr>
            <p:ph type="sldNum" sz="quarter" idx="4"/>
          </p:nvPr>
        </p:nvSpPr>
        <p:spPr>
          <a:xfrm>
            <a:off x="13968850"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cSld>
  <p:clrMapOvr>
    <a:masterClrMapping/>
  </p:clrMapOvr>
  <p:transition>
    <p:fade/>
  </p:transition>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55497"/>
            <a:ext cx="4211320" cy="5003610"/>
          </a:xfrm>
          <a:noFill/>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3" y="2055497"/>
            <a:ext cx="4211320" cy="5003610"/>
          </a:xfrm>
          <a:noFill/>
        </p:spPr>
        <p:txBody>
          <a:bodyPr anchor="t"/>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3" y="2055497"/>
            <a:ext cx="4211320" cy="5003610"/>
          </a:xfrm>
          <a:noFill/>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438EE667-2F4C-514E-9DE6-F69F8D6309A2}"/>
              </a:ext>
            </a:extLst>
          </p:cNvPr>
          <p:cNvSpPr>
            <a:spLocks noGrp="1"/>
          </p:cNvSpPr>
          <p:nvPr>
            <p:ph type="body" sz="quarter" idx="21"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2BBFA237-3D8D-F54C-9FB5-A168612D87BE}"/>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3615733512"/>
      </p:ext>
    </p:extLst>
  </p:cSld>
  <p:clrMapOvr>
    <a:masterClrMapping/>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ub, columns 1x3 wht">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92554"/>
            <a:ext cx="4211320" cy="2798832"/>
          </a:xfrm>
          <a:solidFill>
            <a:schemeClr val="bg1"/>
          </a:solidFill>
          <a:ln>
            <a:noFill/>
          </a:ln>
        </p:spPr>
        <p:txBody>
          <a:bodyPr/>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3" y="2092556"/>
            <a:ext cx="4211320" cy="2798831"/>
          </a:xfrm>
          <a:solidFill>
            <a:schemeClr val="bg1"/>
          </a:solidFill>
          <a:ln>
            <a:noFill/>
          </a:ln>
        </p:spPr>
        <p:txBody>
          <a:bodyPr anchor="t"/>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3" y="2092554"/>
            <a:ext cx="4211320" cy="2798832"/>
          </a:xfrm>
          <a:solidFill>
            <a:schemeClr val="bg1"/>
          </a:solidFill>
          <a:ln>
            <a:noFill/>
          </a:ln>
        </p:spPr>
        <p:txBody>
          <a:bodyPr/>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3">
            <a:extLst>
              <a:ext uri="{FF2B5EF4-FFF2-40B4-BE49-F238E27FC236}">
                <a16:creationId xmlns:a16="http://schemas.microsoft.com/office/drawing/2014/main" id="{D16FFE8E-339D-0F4B-9419-5DB052A78E3B}"/>
              </a:ext>
            </a:extLst>
          </p:cNvPr>
          <p:cNvSpPr>
            <a:spLocks noGrp="1"/>
          </p:cNvSpPr>
          <p:nvPr>
            <p:ph type="body" sz="quarter" idx="21"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00000"/>
                </a:solidFill>
              </a:defRPr>
            </a:lvl1pPr>
          </a:lstStyle>
          <a:p>
            <a:fld id="{AD816501-AAE5-214E-B100-00C3DC5F5E3F}" type="slidenum">
              <a:rPr lang="en-US" smtClean="0"/>
              <a:pPr/>
              <a:t>‹#›</a:t>
            </a:fld>
            <a:endParaRPr lang="en-US" dirty="0"/>
          </a:p>
        </p:txBody>
      </p:sp>
      <p:sp>
        <p:nvSpPr>
          <p:cNvPr id="10" name="Title 1">
            <a:extLst>
              <a:ext uri="{FF2B5EF4-FFF2-40B4-BE49-F238E27FC236}">
                <a16:creationId xmlns:a16="http://schemas.microsoft.com/office/drawing/2014/main" id="{321AC04F-7228-2D40-90FB-B273CB8C5AB6}"/>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
        <p:nvSpPr>
          <p:cNvPr id="3" name="Text Placeholder 2">
            <a:extLst>
              <a:ext uri="{FF2B5EF4-FFF2-40B4-BE49-F238E27FC236}">
                <a16:creationId xmlns:a16="http://schemas.microsoft.com/office/drawing/2014/main" id="{340B2714-83A7-BB46-9D36-05FB92B16BBF}"/>
              </a:ext>
            </a:extLst>
          </p:cNvPr>
          <p:cNvSpPr>
            <a:spLocks noGrp="1"/>
          </p:cNvSpPr>
          <p:nvPr>
            <p:ph type="body" sz="quarter" idx="22"/>
          </p:nvPr>
        </p:nvSpPr>
        <p:spPr>
          <a:xfrm>
            <a:off x="720725" y="5083862"/>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C6F4DF9C-6A5A-5141-A4C8-0DF45E3D9E10}"/>
              </a:ext>
            </a:extLst>
          </p:cNvPr>
          <p:cNvSpPr>
            <a:spLocks noGrp="1"/>
          </p:cNvSpPr>
          <p:nvPr>
            <p:ph type="body" sz="quarter" idx="23"/>
          </p:nvPr>
        </p:nvSpPr>
        <p:spPr>
          <a:xfrm>
            <a:off x="5192712" y="5083862"/>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7BCD16B9-CCE5-5F41-B9C5-5E81442329C0}"/>
              </a:ext>
            </a:extLst>
          </p:cNvPr>
          <p:cNvSpPr>
            <a:spLocks noGrp="1"/>
          </p:cNvSpPr>
          <p:nvPr>
            <p:ph type="body" sz="quarter" idx="24"/>
          </p:nvPr>
        </p:nvSpPr>
        <p:spPr>
          <a:xfrm>
            <a:off x="9650412" y="5083862"/>
            <a:ext cx="4211320" cy="2029033"/>
          </a:xfrm>
        </p:spPr>
        <p:txBody>
          <a:bodyPr/>
          <a:lstStyle>
            <a:lvl1pPr>
              <a:defRPr sz="20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7720473"/>
      </p:ext>
    </p:extLst>
  </p:cSld>
  <p:clrMapOvr>
    <a:masterClrMapping/>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661049"/>
            <a:ext cx="4211320" cy="4398058"/>
          </a:xfrm>
          <a:solidFill>
            <a:schemeClr val="bg1"/>
          </a:solidFill>
          <a:ln>
            <a:noFill/>
          </a:ln>
        </p:spPr>
        <p:txBody>
          <a:bodyPr/>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3" y="2661049"/>
            <a:ext cx="4211320" cy="4398058"/>
          </a:xfrm>
          <a:solidFill>
            <a:schemeClr val="bg1"/>
          </a:solidFill>
          <a:ln>
            <a:noFill/>
          </a:ln>
        </p:spPr>
        <p:txBody>
          <a:bodyPr anchor="t"/>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3" y="2661049"/>
            <a:ext cx="4211320" cy="4398058"/>
          </a:xfrm>
          <a:solidFill>
            <a:schemeClr val="bg1"/>
          </a:solidFill>
          <a:ln>
            <a:noFill/>
          </a:ln>
        </p:spPr>
        <p:txBody>
          <a:bodyPr/>
          <a:lstStyle>
            <a:lvl1pPr marL="109530" indent="0">
              <a:buNone/>
              <a:defRPr sz="2000"/>
            </a:lvl1pPr>
            <a:lvl2pPr>
              <a:defRPr sz="2000"/>
            </a:lvl2pPr>
            <a:lvl3pPr>
              <a:defRPr sz="2000"/>
            </a:lvl3pPr>
            <a:lvl4pPr>
              <a:defRPr sz="2000"/>
            </a:lvl4pPr>
            <a:lvl5pPr>
              <a:defRPr sz="2000"/>
            </a:lvl5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05371"/>
            <a:ext cx="13182600" cy="191116"/>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5" name="Text Placeholder 4"/>
          <p:cNvSpPr>
            <a:spLocks noGrp="1"/>
          </p:cNvSpPr>
          <p:nvPr>
            <p:ph type="body" sz="quarter" idx="10"/>
          </p:nvPr>
        </p:nvSpPr>
        <p:spPr>
          <a:xfrm>
            <a:off x="726441"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725702" y="2016993"/>
            <a:ext cx="4209839" cy="520700"/>
          </a:xfrm>
          <a:solidFill>
            <a:srgbClr val="FFFFFF"/>
          </a:solidFill>
        </p:spPr>
        <p:txBody>
          <a:bodyPr anchor="ctr"/>
          <a:lstStyle>
            <a:lvl1pPr marL="109530" indent="0">
              <a:buNone/>
              <a:defRPr sz="2000" b="1">
                <a:solidFill>
                  <a:schemeClr val="accent3"/>
                </a:solidFill>
              </a:defRPr>
            </a:lvl1pPr>
          </a:lstStyle>
          <a:p>
            <a:pPr lvl="0"/>
            <a:r>
              <a:rPr lang="en-US"/>
              <a:t>Edit Master text styles</a:t>
            </a:r>
          </a:p>
        </p:txBody>
      </p:sp>
      <p:sp>
        <p:nvSpPr>
          <p:cNvPr id="19" name="Text Placeholder 8"/>
          <p:cNvSpPr>
            <a:spLocks noGrp="1"/>
          </p:cNvSpPr>
          <p:nvPr>
            <p:ph type="body" sz="quarter" idx="23"/>
          </p:nvPr>
        </p:nvSpPr>
        <p:spPr>
          <a:xfrm>
            <a:off x="5212942" y="2016993"/>
            <a:ext cx="4209839" cy="520700"/>
          </a:xfrm>
          <a:solidFill>
            <a:srgbClr val="FFFFFF"/>
          </a:solidFill>
        </p:spPr>
        <p:txBody>
          <a:bodyPr anchor="ctr"/>
          <a:lstStyle>
            <a:lvl1pPr marL="109530" indent="0">
              <a:buNone/>
              <a:defRPr sz="2000" b="1">
                <a:solidFill>
                  <a:schemeClr val="accent2"/>
                </a:solidFill>
              </a:defRPr>
            </a:lvl1pPr>
          </a:lstStyle>
          <a:p>
            <a:pPr lvl="0"/>
            <a:r>
              <a:rPr lang="en-US"/>
              <a:t>Edit Master text styles</a:t>
            </a:r>
          </a:p>
        </p:txBody>
      </p:sp>
      <p:sp>
        <p:nvSpPr>
          <p:cNvPr id="20" name="Text Placeholder 8"/>
          <p:cNvSpPr>
            <a:spLocks noGrp="1"/>
          </p:cNvSpPr>
          <p:nvPr>
            <p:ph type="body" sz="quarter" idx="24"/>
          </p:nvPr>
        </p:nvSpPr>
        <p:spPr>
          <a:xfrm>
            <a:off x="9688088" y="2016993"/>
            <a:ext cx="4221150" cy="520700"/>
          </a:xfrm>
          <a:solidFill>
            <a:srgbClr val="FFFFFF"/>
          </a:solidFill>
        </p:spPr>
        <p:txBody>
          <a:bodyPr anchor="ctr"/>
          <a:lstStyle>
            <a:lvl1pPr marL="109530" indent="0">
              <a:buNone/>
              <a:defRPr sz="2000" b="1">
                <a:solidFill>
                  <a:schemeClr val="accent1"/>
                </a:solidFill>
              </a:defRPr>
            </a:lvl1pPr>
          </a:lstStyle>
          <a:p>
            <a:pPr lvl="0"/>
            <a:r>
              <a:rPr lang="en-US"/>
              <a:t>Edit Master text styles</a:t>
            </a:r>
          </a:p>
        </p:txBody>
      </p:sp>
      <p:sp>
        <p:nvSpPr>
          <p:cNvPr id="12" name="Text Placeholder 3">
            <a:extLst>
              <a:ext uri="{FF2B5EF4-FFF2-40B4-BE49-F238E27FC236}">
                <a16:creationId xmlns:a16="http://schemas.microsoft.com/office/drawing/2014/main" id="{A68BE73F-D78F-D444-9162-708CDF52072F}"/>
              </a:ext>
            </a:extLst>
          </p:cNvPr>
          <p:cNvSpPr>
            <a:spLocks noGrp="1"/>
          </p:cNvSpPr>
          <p:nvPr>
            <p:ph type="body" sz="quarter" idx="25" hasCustomPrompt="1"/>
          </p:nvPr>
        </p:nvSpPr>
        <p:spPr>
          <a:xfrm>
            <a:off x="7976384" y="7688966"/>
            <a:ext cx="5823659" cy="308708"/>
          </a:xfrm>
        </p:spPr>
        <p:txBody>
          <a:bodyPr/>
          <a:lstStyle>
            <a:lvl1pPr marL="0" indent="0" algn="r">
              <a:buNone/>
              <a:defRPr sz="900" b="1"/>
            </a:lvl1pPr>
          </a:lstStyle>
          <a:p>
            <a:pPr lvl="0"/>
            <a:r>
              <a:rPr lang="en-US"/>
              <a:t>OPTIONAL FUNCTION NAME</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1" name="Title 1">
            <a:extLst>
              <a:ext uri="{FF2B5EF4-FFF2-40B4-BE49-F238E27FC236}">
                <a16:creationId xmlns:a16="http://schemas.microsoft.com/office/drawing/2014/main" id="{DE085746-F358-8B48-B3DA-0AFACF75E822}"/>
              </a:ext>
            </a:extLst>
          </p:cNvPr>
          <p:cNvSpPr>
            <a:spLocks noGrp="1"/>
          </p:cNvSpPr>
          <p:nvPr>
            <p:ph type="title"/>
          </p:nvPr>
        </p:nvSpPr>
        <p:spPr>
          <a:xfrm>
            <a:off x="726440" y="454152"/>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4197704151"/>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97126C82-A3F3-844B-84CD-4A0A0FE4F981}"/>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8" name="Slide Number Placeholder 5">
            <a:extLst>
              <a:ext uri="{FF2B5EF4-FFF2-40B4-BE49-F238E27FC236}">
                <a16:creationId xmlns:a16="http://schemas.microsoft.com/office/drawing/2014/main" id="{FD2FF53E-E76B-884D-AC96-1F41150C7D6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949138514"/>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26441" y="6833477"/>
            <a:ext cx="13177520" cy="477916"/>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08" y="7266802"/>
            <a:ext cx="13177552" cy="276998"/>
          </a:xfrm>
        </p:spPr>
        <p:txBody>
          <a:bodyPr wrap="square" anchor="b" anchorCtr="0">
            <a:spAutoFit/>
          </a:bodyPr>
          <a:lstStyle>
            <a:lvl1pPr algn="l">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F50E040B-9C9D-1A47-973E-7DECBD6CA6D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Picture Placeholder 2">
            <a:extLst>
              <a:ext uri="{FF2B5EF4-FFF2-40B4-BE49-F238E27FC236}">
                <a16:creationId xmlns:a16="http://schemas.microsoft.com/office/drawing/2014/main" id="{A1177230-E7DB-E345-B033-4DBFCB7E1C3A}"/>
              </a:ext>
            </a:extLst>
          </p:cNvPr>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Tree>
    <p:extLst>
      <p:ext uri="{BB962C8B-B14F-4D97-AF65-F5344CB8AC3E}">
        <p14:creationId xmlns:p14="http://schemas.microsoft.com/office/powerpoint/2010/main" val="34730305"/>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2443BD8-D2F6-8646-B36D-61A3FE18C975}"/>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3205967923"/>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rgbClr val="C8102E"/>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2933274606"/>
      </p:ext>
    </p:extLst>
  </p:cSld>
  <p:clrMapOvr>
    <a:masterClrMapping/>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2185591660"/>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726441" y="2333961"/>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726441" y="6100268"/>
            <a:ext cx="13177520" cy="1777366"/>
          </a:xfrm>
        </p:spPr>
        <p:txBody>
          <a:bodyPr/>
          <a:lstStyle>
            <a:lvl1pPr marL="0" indent="0" algn="l">
              <a:lnSpc>
                <a:spcPts val="7999"/>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4257643191"/>
      </p:ext>
    </p:extLst>
  </p:cSld>
  <p:clrMapOvr>
    <a:masterClrMapping/>
  </p:clrMapOvr>
  <p:transition>
    <p:fade/>
  </p:transition>
  <p:hf hdr="0" ftr="0" dt="0"/>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F5E5CDCA-7999-6A42-B665-EC2AAA7B46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1458" y="3656703"/>
            <a:ext cx="5063744" cy="926846"/>
          </a:xfrm>
          <a:prstGeom prst="rect">
            <a:avLst/>
          </a:prstGeom>
        </p:spPr>
      </p:pic>
    </p:spTree>
    <p:extLst>
      <p:ext uri="{BB962C8B-B14F-4D97-AF65-F5344CB8AC3E}">
        <p14:creationId xmlns:p14="http://schemas.microsoft.com/office/powerpoint/2010/main" val="2626534539"/>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rgbClr val="C8102E"/>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26440" y="2333960"/>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726440" y="6100268"/>
            <a:ext cx="13177520" cy="1777366"/>
          </a:xfrm>
        </p:spPr>
        <p:txBody>
          <a:bodyPr/>
          <a:lstStyle>
            <a:lvl1pPr marL="0" indent="0" algn="l">
              <a:lnSpc>
                <a:spcPts val="8000"/>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cSld>
  <p:clrMapOvr>
    <a:masterClrMapping/>
  </p:clrMapOvr>
  <p:transition>
    <p:fade/>
  </p:transition>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JM"/>
          </a:p>
        </p:txBody>
      </p:sp>
      <p:sp>
        <p:nvSpPr>
          <p:cNvPr id="3" name="Content Placeholder 2"/>
          <p:cNvSpPr>
            <a:spLocks noGrp="1"/>
          </p:cNvSpPr>
          <p:nvPr>
            <p:ph idx="1"/>
          </p:nvPr>
        </p:nvSpPr>
        <p:spPr/>
        <p:txBody>
          <a:bodyPr>
            <a:normAutofit/>
          </a:bodyPr>
          <a:lstStyle>
            <a:lvl1pPr>
              <a:defRPr sz="2160">
                <a:solidFill>
                  <a:schemeClr val="tx1">
                    <a:lumMod val="65000"/>
                    <a:lumOff val="35000"/>
                  </a:schemeClr>
                </a:solidFill>
              </a:defRPr>
            </a:lvl1pPr>
            <a:lvl2pPr>
              <a:defRPr sz="1920">
                <a:solidFill>
                  <a:schemeClr val="tx1">
                    <a:lumMod val="65000"/>
                    <a:lumOff val="35000"/>
                  </a:schemeClr>
                </a:solidFill>
              </a:defRPr>
            </a:lvl2pPr>
            <a:lvl3pPr>
              <a:defRPr sz="1680">
                <a:solidFill>
                  <a:schemeClr val="tx1">
                    <a:lumMod val="65000"/>
                    <a:lumOff val="35000"/>
                  </a:schemeClr>
                </a:solidFill>
              </a:defRPr>
            </a:lvl3pPr>
            <a:lvl4pPr>
              <a:defRPr sz="1440">
                <a:solidFill>
                  <a:schemeClr val="tx1">
                    <a:lumMod val="65000"/>
                    <a:lumOff val="35000"/>
                  </a:schemeClr>
                </a:solidFill>
              </a:defRPr>
            </a:lvl4pPr>
            <a:lvl5pPr>
              <a:defRPr sz="1440">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JM"/>
          </a:p>
        </p:txBody>
      </p:sp>
      <p:sp>
        <p:nvSpPr>
          <p:cNvPr id="8" name="Text Placeholder 17"/>
          <p:cNvSpPr>
            <a:spLocks noGrp="1"/>
          </p:cNvSpPr>
          <p:nvPr>
            <p:ph type="body" sz="quarter" idx="23"/>
          </p:nvPr>
        </p:nvSpPr>
        <p:spPr>
          <a:xfrm>
            <a:off x="731520" y="1402080"/>
            <a:ext cx="8046720" cy="518160"/>
          </a:xfrm>
        </p:spPr>
        <p:txBody>
          <a:bodyPr>
            <a:noAutofit/>
          </a:bodyPr>
          <a:lstStyle>
            <a:lvl1pPr marL="0" indent="0" algn="l">
              <a:buFontTx/>
              <a:buNone/>
              <a:defRPr sz="1440" b="1">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48562" indent="0">
              <a:buFontTx/>
              <a:buNone/>
              <a:defRPr sz="1260">
                <a:latin typeface="Mission Gothic Regular" pitchFamily="50" charset="0"/>
              </a:defRPr>
            </a:lvl2pPr>
            <a:lvl3pPr marL="1097122" indent="0">
              <a:buFontTx/>
              <a:buNone/>
              <a:defRPr sz="1260">
                <a:latin typeface="Mission Gothic Regular" pitchFamily="50" charset="0"/>
              </a:defRPr>
            </a:lvl3pPr>
            <a:lvl4pPr marL="1645681" indent="0">
              <a:buFontTx/>
              <a:buNone/>
              <a:defRPr sz="1260">
                <a:latin typeface="Mission Gothic Regular" pitchFamily="50" charset="0"/>
              </a:defRPr>
            </a:lvl4pPr>
            <a:lvl5pPr marL="2194242" indent="0">
              <a:buFontTx/>
              <a:buNone/>
              <a:defRPr sz="1260">
                <a:latin typeface="Mission Gothic Regular" pitchFamily="50" charset="0"/>
              </a:defRPr>
            </a:lvl5pPr>
          </a:lstStyle>
          <a:p>
            <a:pPr lvl="0"/>
            <a:r>
              <a:rPr lang="en-US"/>
              <a:t>Edit Master text styles</a:t>
            </a:r>
          </a:p>
        </p:txBody>
      </p:sp>
    </p:spTree>
    <p:extLst>
      <p:ext uri="{BB962C8B-B14F-4D97-AF65-F5344CB8AC3E}">
        <p14:creationId xmlns:p14="http://schemas.microsoft.com/office/powerpoint/2010/main" val="354481877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graphic">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id="{064E82B0-63D5-4446-B657-1E110C3A1E8B}"/>
              </a:ext>
            </a:extLst>
          </p:cNvPr>
          <p:cNvSpPr>
            <a:spLocks noGrp="1"/>
          </p:cNvSpPr>
          <p:nvPr>
            <p:ph type="body" sz="quarter" idx="19" hasCustomPrompt="1"/>
          </p:nvPr>
        </p:nvSpPr>
        <p:spPr>
          <a:xfrm>
            <a:off x="3" y="7095911"/>
            <a:ext cx="668996" cy="302330"/>
          </a:xfrm>
        </p:spPr>
        <p:txBody>
          <a:bodyPr anchor="b">
            <a:noAutofit/>
          </a:bodyPr>
          <a:lstStyle>
            <a:lvl1pPr marL="0" indent="0" algn="r">
              <a:spcBef>
                <a:spcPts val="0"/>
              </a:spcBef>
              <a:buNone/>
              <a:defRPr sz="1200">
                <a:solidFill>
                  <a:schemeClr val="tx2"/>
                </a:solidFill>
              </a:defRPr>
            </a:lvl1pPr>
            <a:lvl2pPr marL="260582" indent="0">
              <a:buNone/>
              <a:defRPr sz="1200"/>
            </a:lvl2pPr>
            <a:lvl3pPr marL="636371" indent="0">
              <a:buNone/>
              <a:defRPr sz="1200"/>
            </a:lvl3pPr>
            <a:lvl4pPr marL="1075248" indent="0">
              <a:buNone/>
              <a:defRPr sz="1200"/>
            </a:lvl4pPr>
            <a:lvl5pPr marL="1556070" indent="0">
              <a:buNone/>
              <a:defRPr sz="1200"/>
            </a:lvl5pPr>
          </a:lstStyle>
          <a:p>
            <a:pPr lvl="0"/>
            <a:r>
              <a:rPr lang="en-US"/>
              <a:t>*</a:t>
            </a:r>
          </a:p>
        </p:txBody>
      </p:sp>
      <p:sp>
        <p:nvSpPr>
          <p:cNvPr id="10" name="Text Placeholder 14">
            <a:extLst>
              <a:ext uri="{FF2B5EF4-FFF2-40B4-BE49-F238E27FC236}">
                <a16:creationId xmlns:a16="http://schemas.microsoft.com/office/drawing/2014/main" id="{C3AE501B-FE48-4C9F-83B5-7617A1D2B0AA}"/>
              </a:ext>
            </a:extLst>
          </p:cNvPr>
          <p:cNvSpPr>
            <a:spLocks noGrp="1"/>
          </p:cNvSpPr>
          <p:nvPr>
            <p:ph type="body" sz="quarter" idx="20" hasCustomPrompt="1"/>
          </p:nvPr>
        </p:nvSpPr>
        <p:spPr>
          <a:xfrm>
            <a:off x="731522" y="7095911"/>
            <a:ext cx="13176908" cy="302330"/>
          </a:xfrm>
        </p:spPr>
        <p:txBody>
          <a:bodyPr anchor="b">
            <a:noAutofit/>
          </a:bodyPr>
          <a:lstStyle>
            <a:lvl1pPr marL="0" indent="0" algn="l">
              <a:spcBef>
                <a:spcPts val="0"/>
              </a:spcBef>
              <a:buNone/>
              <a:defRPr sz="1200">
                <a:solidFill>
                  <a:schemeClr val="tx2"/>
                </a:solidFill>
              </a:defRPr>
            </a:lvl1pPr>
            <a:lvl2pPr marL="260582" indent="0">
              <a:buNone/>
              <a:defRPr sz="1200"/>
            </a:lvl2pPr>
            <a:lvl3pPr marL="636371" indent="0">
              <a:buNone/>
              <a:defRPr sz="1200"/>
            </a:lvl3pPr>
            <a:lvl4pPr marL="1075248" indent="0">
              <a:buNone/>
              <a:defRPr sz="1200"/>
            </a:lvl4pPr>
            <a:lvl5pPr marL="1556070" indent="0">
              <a:buNone/>
              <a:defRPr sz="1200"/>
            </a:lvl5pPr>
          </a:lstStyle>
          <a:p>
            <a:pPr lvl="0"/>
            <a:r>
              <a:rPr lang="en-US"/>
              <a:t>Click to add footnote</a:t>
            </a:r>
          </a:p>
        </p:txBody>
      </p:sp>
      <p:sp>
        <p:nvSpPr>
          <p:cNvPr id="3" name="Title 2">
            <a:extLst>
              <a:ext uri="{FF2B5EF4-FFF2-40B4-BE49-F238E27FC236}">
                <a16:creationId xmlns:a16="http://schemas.microsoft.com/office/drawing/2014/main" id="{60ACCF9F-8C09-4CF5-898D-112226216355}"/>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FB6C2ECB-A4FE-4288-8FCC-BBE730F1B396}"/>
              </a:ext>
            </a:extLst>
          </p:cNvPr>
          <p:cNvSpPr>
            <a:spLocks noGrp="1"/>
          </p:cNvSpPr>
          <p:nvPr>
            <p:ph type="sldNum" sz="quarter" idx="21"/>
          </p:nvPr>
        </p:nvSpPr>
        <p:spPr/>
        <p:txBody>
          <a:bodyPr/>
          <a:lstStyle/>
          <a:p>
            <a:fld id="{AD816501-AAE5-214E-B100-00C3DC5F5E3F}" type="slidenum">
              <a:rPr lang="en-US" smtClean="0"/>
              <a:pPr/>
              <a:t>‹#›</a:t>
            </a:fld>
            <a:endParaRPr lang="en-US" dirty="0"/>
          </a:p>
        </p:txBody>
      </p:sp>
      <p:sp>
        <p:nvSpPr>
          <p:cNvPr id="5" name="Content Placeholder 4">
            <a:extLst>
              <a:ext uri="{FF2B5EF4-FFF2-40B4-BE49-F238E27FC236}">
                <a16:creationId xmlns:a16="http://schemas.microsoft.com/office/drawing/2014/main" id="{AE7F6632-A536-4E61-832D-097A4041BD38}"/>
              </a:ext>
            </a:extLst>
          </p:cNvPr>
          <p:cNvSpPr>
            <a:spLocks noGrp="1"/>
          </p:cNvSpPr>
          <p:nvPr>
            <p:ph sz="quarter" idx="22"/>
          </p:nvPr>
        </p:nvSpPr>
        <p:spPr>
          <a:xfrm>
            <a:off x="731520" y="2055816"/>
            <a:ext cx="13167360" cy="5047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734685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7DB9E-FA39-4550-A2BA-74565E89C0D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A55145-A766-4C03-ACD2-B4CCEB538951}"/>
              </a:ext>
            </a:extLst>
          </p:cNvPr>
          <p:cNvSpPr>
            <a:spLocks noGrp="1"/>
          </p:cNvSpPr>
          <p:nvPr>
            <p:ph type="dt" sz="half" idx="10"/>
          </p:nvPr>
        </p:nvSpPr>
        <p:spPr/>
        <p:txBody>
          <a:bodyPr/>
          <a:lstStyle/>
          <a:p>
            <a:fld id="{D1EB037E-43B6-4602-B77B-430304E5DFE4}" type="datetimeFigureOut">
              <a:rPr lang="en-US" smtClean="0"/>
              <a:t>3/6/2024</a:t>
            </a:fld>
            <a:endParaRPr lang="en-US" dirty="0"/>
          </a:p>
        </p:txBody>
      </p:sp>
      <p:sp>
        <p:nvSpPr>
          <p:cNvPr id="4" name="Footer Placeholder 3">
            <a:extLst>
              <a:ext uri="{FF2B5EF4-FFF2-40B4-BE49-F238E27FC236}">
                <a16:creationId xmlns:a16="http://schemas.microsoft.com/office/drawing/2014/main" id="{3DB07D6F-DDB9-4B8D-82DE-A96FF89FC0A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A02D28E-1265-4C09-A981-8AFEF8A2E949}"/>
              </a:ext>
            </a:extLst>
          </p:cNvPr>
          <p:cNvSpPr>
            <a:spLocks noGrp="1"/>
          </p:cNvSpPr>
          <p:nvPr>
            <p:ph type="sldNum" sz="quarter" idx="12"/>
          </p:nvPr>
        </p:nvSpPr>
        <p:spPr/>
        <p:txBody>
          <a:bodyPr/>
          <a:lstStyle/>
          <a:p>
            <a:fld id="{23068186-7825-47A1-A946-8A4BB2DFB9EB}" type="slidenum">
              <a:rPr lang="en-US" smtClean="0"/>
              <a:t>‹#›</a:t>
            </a:fld>
            <a:endParaRPr lang="en-US" dirty="0"/>
          </a:p>
        </p:txBody>
      </p:sp>
    </p:spTree>
    <p:extLst>
      <p:ext uri="{BB962C8B-B14F-4D97-AF65-F5344CB8AC3E}">
        <p14:creationId xmlns:p14="http://schemas.microsoft.com/office/powerpoint/2010/main" val="32845974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731520" y="1328150"/>
            <a:ext cx="13167360" cy="5811485"/>
          </a:xfrm>
        </p:spPr>
        <p:txBody>
          <a:bodyPr/>
          <a:lstStyle>
            <a:lvl1pPr marL="187940" indent="-187940">
              <a:buClr>
                <a:schemeClr val="accent5">
                  <a:lumMod val="75000"/>
                </a:schemeClr>
              </a:buClr>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277982358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7"/>
            <a:ext cx="13182936" cy="5003293"/>
          </a:xfrm>
        </p:spPr>
        <p:txBody>
          <a:bodyPr/>
          <a:lstStyle>
            <a:lvl1pPr marL="0" marR="0" indent="0" algn="ctr" defTabSz="1097148" rtl="0" eaLnBrk="1" fontAlgn="base" latinLnBrk="0" hangingPunct="1">
              <a:lnSpc>
                <a:spcPct val="100000"/>
              </a:lnSpc>
              <a:spcBef>
                <a:spcPct val="0"/>
              </a:spcBef>
              <a:spcAft>
                <a:spcPct val="0"/>
              </a:spcAft>
              <a:buClrTx/>
              <a:buSzTx/>
              <a:buFontTx/>
              <a:buNone/>
              <a:tabLst/>
              <a:defRPr sz="2400"/>
            </a:lvl1pPr>
          </a:lstStyle>
          <a:p>
            <a:pPr marL="0" marR="0" lvl="0"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72" indent="0">
              <a:buNone/>
              <a:defRPr sz="1200"/>
            </a:lvl2pPr>
            <a:lvl3pPr marL="636346" indent="0">
              <a:buNone/>
              <a:defRPr sz="1200"/>
            </a:lvl3pPr>
            <a:lvl4pPr marL="1075205" indent="0">
              <a:buNone/>
              <a:defRPr sz="1200"/>
            </a:lvl4pPr>
            <a:lvl5pPr marL="1556008"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53"/>
            <a:ext cx="12174912" cy="692497"/>
          </a:xfrm>
        </p:spPr>
        <p:txBody>
          <a:bodyPr/>
          <a:lstStyle>
            <a:lvl1pPr>
              <a:defRPr kern="1500" spc="-100" baseline="0"/>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10C4AE2F-69B7-C049-A7D9-6603F07278CD}"/>
              </a:ext>
            </a:extLst>
          </p:cNvPr>
          <p:cNvPicPr>
            <a:picLocks noChangeAspect="1"/>
          </p:cNvPicPr>
          <p:nvPr userDrawn="1"/>
        </p:nvPicPr>
        <p:blipFill>
          <a:blip r:embed="rId2"/>
          <a:stretch>
            <a:fillRect/>
          </a:stretch>
        </p:blipFill>
        <p:spPr>
          <a:xfrm>
            <a:off x="12070992" y="7653652"/>
            <a:ext cx="1729048" cy="339160"/>
          </a:xfrm>
          <a:prstGeom prst="rect">
            <a:avLst/>
          </a:prstGeom>
        </p:spPr>
      </p:pic>
    </p:spTree>
    <p:extLst>
      <p:ext uri="{BB962C8B-B14F-4D97-AF65-F5344CB8AC3E}">
        <p14:creationId xmlns:p14="http://schemas.microsoft.com/office/powerpoint/2010/main" val="220732408"/>
      </p:ext>
    </p:extLst>
  </p:cSld>
  <p:clrMapOvr>
    <a:masterClrMapping/>
  </p:clrMapOvr>
  <p:transition>
    <p:fade/>
  </p:transition>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Body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userDrawn="1">
            <p:ph type="title"/>
          </p:nvPr>
        </p:nvSpPr>
        <p:spPr>
          <a:xfrm>
            <a:off x="726440" y="548644"/>
            <a:ext cx="13167360" cy="692497"/>
          </a:xfrm>
        </p:spPr>
        <p:txBody>
          <a:bodyPr/>
          <a:lstStyle/>
          <a:p>
            <a:endParaRPr lang="en-US"/>
          </a:p>
        </p:txBody>
      </p:sp>
      <p:sp>
        <p:nvSpPr>
          <p:cNvPr id="5" name="Text Placeholder 2"/>
          <p:cNvSpPr>
            <a:spLocks noGrp="1"/>
          </p:cNvSpPr>
          <p:nvPr userDrawn="1">
            <p:ph type="body" sz="quarter" idx="10"/>
          </p:nvPr>
        </p:nvSpPr>
        <p:spPr>
          <a:xfrm>
            <a:off x="726440" y="1097283"/>
            <a:ext cx="13167360" cy="369332"/>
          </a:xfrm>
        </p:spPr>
        <p:txBody>
          <a:bodyPr/>
          <a:lstStyle>
            <a:lvl1pPr>
              <a:buNone/>
              <a:defRPr sz="2400"/>
            </a:lvl1pPr>
          </a:lstStyle>
          <a:p>
            <a:endParaRPr lang="en-US"/>
          </a:p>
        </p:txBody>
      </p:sp>
    </p:spTree>
    <p:extLst>
      <p:ext uri="{BB962C8B-B14F-4D97-AF65-F5344CB8AC3E}">
        <p14:creationId xmlns:p14="http://schemas.microsoft.com/office/powerpoint/2010/main" val="82646163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Body slide with content header">
    <p:spTree>
      <p:nvGrpSpPr>
        <p:cNvPr id="1" name=""/>
        <p:cNvGrpSpPr/>
        <p:nvPr/>
      </p:nvGrpSpPr>
      <p:grpSpPr>
        <a:xfrm>
          <a:off x="0" y="0"/>
          <a:ext cx="0" cy="0"/>
          <a:chOff x="0" y="0"/>
          <a:chExt cx="0" cy="0"/>
        </a:xfrm>
      </p:grpSpPr>
      <p:sp>
        <p:nvSpPr>
          <p:cNvPr id="6" name="Title 1"/>
          <p:cNvSpPr>
            <a:spLocks noGrp="1"/>
          </p:cNvSpPr>
          <p:nvPr>
            <p:ph type="title"/>
          </p:nvPr>
        </p:nvSpPr>
        <p:spPr>
          <a:xfrm>
            <a:off x="726440" y="548644"/>
            <a:ext cx="13167360" cy="692497"/>
          </a:xfrm>
        </p:spPr>
        <p:txBody>
          <a:bodyPr/>
          <a:lstStyle/>
          <a:p>
            <a:r>
              <a:rPr lang="en-US"/>
              <a:t>Click to edit Master title style</a:t>
            </a:r>
          </a:p>
        </p:txBody>
      </p:sp>
      <p:sp>
        <p:nvSpPr>
          <p:cNvPr id="7" name="Content Placeholder 2"/>
          <p:cNvSpPr>
            <a:spLocks noGrp="1"/>
          </p:cNvSpPr>
          <p:nvPr>
            <p:ph idx="1"/>
          </p:nvPr>
        </p:nvSpPr>
        <p:spPr>
          <a:xfrm>
            <a:off x="726442" y="2055822"/>
            <a:ext cx="13177520" cy="48482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120" dirty="0" smtClean="0">
                <a:solidFill>
                  <a:srgbClr val="000000"/>
                </a:solidFill>
                <a:latin typeface="Century Gothic" panose="020B0502020202020204" pitchFamily="34" charset="0"/>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8" name="Text Placeholder 4"/>
          <p:cNvSpPr>
            <a:spLocks noGrp="1"/>
          </p:cNvSpPr>
          <p:nvPr>
            <p:ph type="body" sz="quarter" idx="10"/>
          </p:nvPr>
        </p:nvSpPr>
        <p:spPr>
          <a:xfrm>
            <a:off x="726440" y="1097286"/>
            <a:ext cx="1316736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400" dirty="0">
                <a:solidFill>
                  <a:schemeClr val="tx1"/>
                </a:solidFill>
                <a:latin typeface="Century Gothic" panose="020B0502020202020204" pitchFamily="34" charset="0"/>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11"/>
          </p:nvPr>
        </p:nvSpPr>
        <p:spPr>
          <a:xfrm>
            <a:off x="726442" y="2912760"/>
            <a:ext cx="13177520" cy="14773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278209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7"/>
            <a:ext cx="13182936" cy="5003293"/>
          </a:xfrm>
        </p:spPr>
        <p:txBody>
          <a:bodyPr/>
          <a:lstStyle>
            <a:lvl1pPr marL="0" marR="0" indent="0" algn="ctr" defTabSz="1097148" rtl="0" eaLnBrk="1" fontAlgn="base" latinLnBrk="0" hangingPunct="1">
              <a:lnSpc>
                <a:spcPct val="100000"/>
              </a:lnSpc>
              <a:spcBef>
                <a:spcPct val="0"/>
              </a:spcBef>
              <a:spcAft>
                <a:spcPct val="0"/>
              </a:spcAft>
              <a:buClrTx/>
              <a:buSzTx/>
              <a:buFontTx/>
              <a:buNone/>
              <a:tabLst/>
              <a:defRPr sz="2400"/>
            </a:lvl1pPr>
          </a:lstStyle>
          <a:p>
            <a:pPr marL="0" marR="0" lvl="0"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148"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72" indent="0">
              <a:buNone/>
              <a:defRPr sz="1200"/>
            </a:lvl2pPr>
            <a:lvl3pPr marL="636346" indent="0">
              <a:buNone/>
              <a:defRPr sz="1200"/>
            </a:lvl3pPr>
            <a:lvl4pPr marL="1075205" indent="0">
              <a:buNone/>
              <a:defRPr sz="1200"/>
            </a:lvl4pPr>
            <a:lvl5pPr marL="1556008"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50"/>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8C943351-4D1C-B84E-AFF6-E461D04C3E37}"/>
              </a:ext>
            </a:extLst>
          </p:cNvPr>
          <p:cNvPicPr>
            <a:picLocks noChangeAspect="1"/>
          </p:cNvPicPr>
          <p:nvPr userDrawn="1"/>
        </p:nvPicPr>
        <p:blipFill>
          <a:blip r:embed="rId2"/>
          <a:stretch>
            <a:fillRect/>
          </a:stretch>
        </p:blipFill>
        <p:spPr>
          <a:xfrm>
            <a:off x="12070992" y="7653652"/>
            <a:ext cx="1729048" cy="339160"/>
          </a:xfrm>
          <a:prstGeom prst="rect">
            <a:avLst/>
          </a:prstGeom>
        </p:spPr>
      </p:pic>
    </p:spTree>
    <p:extLst>
      <p:ext uri="{BB962C8B-B14F-4D97-AF65-F5344CB8AC3E}">
        <p14:creationId xmlns:p14="http://schemas.microsoft.com/office/powerpoint/2010/main" val="1723438716"/>
      </p:ext>
    </p:extLst>
  </p:cSld>
  <p:clrMapOvr>
    <a:masterClrMapping/>
  </p:clrMapOvr>
  <p:transition>
    <p:fade/>
  </p:transition>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1520" y="1633160"/>
            <a:ext cx="6461760" cy="5717016"/>
          </a:xfrm>
        </p:spPr>
        <p:txBody>
          <a:bodyPr/>
          <a:lstStyle>
            <a:lvl1pPr>
              <a:defRPr sz="1200"/>
            </a:lvl1pPr>
            <a:lvl2pPr>
              <a:defRPr sz="1200"/>
            </a:lvl2pPr>
            <a:lvl3pPr>
              <a:defRPr sz="1200"/>
            </a:lvl3pPr>
            <a:lvl4pPr>
              <a:defRPr sz="1200"/>
            </a:lvl4pPr>
            <a:lvl5pPr>
              <a:defRPr sz="1200"/>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437120" y="1633160"/>
            <a:ext cx="6461760" cy="5717016"/>
          </a:xfrm>
        </p:spPr>
        <p:txBody>
          <a:bodyPr/>
          <a:lstStyle>
            <a:lvl1pPr>
              <a:defRPr sz="1200"/>
            </a:lvl1pPr>
            <a:lvl2pPr>
              <a:defRPr sz="1200"/>
            </a:lvl2pPr>
            <a:lvl3pPr>
              <a:defRPr sz="1200"/>
            </a:lvl3pPr>
            <a:lvl4pPr>
              <a:defRPr sz="1200"/>
            </a:lvl4pPr>
            <a:lvl5pPr>
              <a:defRPr sz="1200"/>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26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7959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26440" y="2333960"/>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726440" y="6100268"/>
            <a:ext cx="13177520" cy="1777366"/>
          </a:xfrm>
        </p:spPr>
        <p:txBody>
          <a:bodyPr/>
          <a:lstStyle>
            <a:lvl1pPr marL="0" indent="0" algn="l">
              <a:lnSpc>
                <a:spcPts val="8000"/>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cSld>
  <p:clrMapOvr>
    <a:masterClrMapping/>
  </p:clrMapOvr>
  <p:transition>
    <p:fade/>
  </p:transition>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11085" y="2490607"/>
            <a:ext cx="10415898" cy="2098475"/>
          </a:xfrm>
        </p:spPr>
        <p:txBody>
          <a:bodyPr bIns="0" anchor="b">
            <a:normAutofit/>
          </a:bodyPr>
          <a:lstStyle>
            <a:lvl1pPr algn="ctr">
              <a:lnSpc>
                <a:spcPct val="80000"/>
              </a:lnSpc>
              <a:defRPr sz="6480" spc="-180">
                <a:solidFill>
                  <a:srgbClr val="FFFEFF"/>
                </a:solidFill>
              </a:defRPr>
            </a:lvl1pPr>
          </a:lstStyle>
          <a:p>
            <a:r>
              <a:rPr lang="en-US"/>
              <a:t>Click to edit Master title style</a:t>
            </a:r>
          </a:p>
        </p:txBody>
      </p:sp>
      <p:sp>
        <p:nvSpPr>
          <p:cNvPr id="3" name="Subtitle 2"/>
          <p:cNvSpPr>
            <a:spLocks noGrp="1"/>
          </p:cNvSpPr>
          <p:nvPr>
            <p:ph type="subTitle" idx="1"/>
          </p:nvPr>
        </p:nvSpPr>
        <p:spPr>
          <a:xfrm>
            <a:off x="2111085" y="4687521"/>
            <a:ext cx="10408112" cy="1587104"/>
          </a:xfrm>
        </p:spPr>
        <p:txBody>
          <a:bodyPr tIns="0">
            <a:normAutofit/>
          </a:bodyPr>
          <a:lstStyle>
            <a:lvl1pPr marL="0" indent="0" algn="ctr">
              <a:lnSpc>
                <a:spcPct val="100000"/>
              </a:lnSpc>
              <a:buNone/>
              <a:defRPr sz="2160" b="0">
                <a:solidFill>
                  <a:srgbClr val="FFFEFF"/>
                </a:solidFill>
              </a:defRPr>
            </a:lvl1pPr>
            <a:lvl2pPr marL="548618" indent="0" algn="ctr">
              <a:buNone/>
              <a:defRPr sz="2160"/>
            </a:lvl2pPr>
            <a:lvl3pPr marL="1097236" indent="0" algn="ctr">
              <a:buNone/>
              <a:defRPr sz="2160"/>
            </a:lvl3pPr>
            <a:lvl4pPr marL="1645854" indent="0" algn="ctr">
              <a:buNone/>
              <a:defRPr sz="1920"/>
            </a:lvl4pPr>
            <a:lvl5pPr marL="2194472" indent="0" algn="ctr">
              <a:buNone/>
              <a:defRPr sz="1920"/>
            </a:lvl5pPr>
            <a:lvl6pPr marL="2743091" indent="0" algn="ctr">
              <a:buNone/>
              <a:defRPr sz="1920"/>
            </a:lvl6pPr>
            <a:lvl7pPr marL="3291708" indent="0" algn="ctr">
              <a:buNone/>
              <a:defRPr sz="1920"/>
            </a:lvl7pPr>
            <a:lvl8pPr marL="3840326" indent="0" algn="ctr">
              <a:buNone/>
              <a:defRPr sz="1920"/>
            </a:lvl8pPr>
            <a:lvl9pPr marL="4388945" indent="0" algn="ctr">
              <a:buNone/>
              <a:defRPr sz="1920"/>
            </a:lvl9pPr>
          </a:lstStyle>
          <a:p>
            <a:r>
              <a:rPr lang="en-US"/>
              <a:t>Click to edit Master subtitle style</a:t>
            </a:r>
          </a:p>
        </p:txBody>
      </p:sp>
      <p:sp>
        <p:nvSpPr>
          <p:cNvPr id="4" name="Date Placeholder 3"/>
          <p:cNvSpPr>
            <a:spLocks noGrp="1"/>
          </p:cNvSpPr>
          <p:nvPr>
            <p:ph type="dt" sz="half" idx="10"/>
          </p:nvPr>
        </p:nvSpPr>
        <p:spPr>
          <a:xfrm>
            <a:off x="965606" y="384048"/>
            <a:ext cx="4389120" cy="384048"/>
          </a:xfrm>
        </p:spPr>
        <p:txBody>
          <a:bodyPr vert="horz" lIns="91440" tIns="45720" rIns="91440" bIns="45720" rtlCol="0" anchor="ctr"/>
          <a:lstStyle>
            <a:lvl1pPr>
              <a:defRPr lang="en-US"/>
            </a:lvl1pPr>
          </a:lstStyle>
          <a:p>
            <a:fld id="{91101ABB-A990-40F8-BCAE-A9EBC893C4D7}" type="datetimeFigureOut">
              <a:rPr lang="en-US" smtClean="0"/>
              <a:t>3/6/2024</a:t>
            </a:fld>
            <a:endParaRPr lang="en-US" dirty="0"/>
          </a:p>
        </p:txBody>
      </p:sp>
      <p:sp>
        <p:nvSpPr>
          <p:cNvPr id="5" name="Footer Placeholder 4"/>
          <p:cNvSpPr>
            <a:spLocks noGrp="1"/>
          </p:cNvSpPr>
          <p:nvPr>
            <p:ph type="ftr" sz="quarter" idx="11"/>
          </p:nvPr>
        </p:nvSpPr>
        <p:spPr>
          <a:xfrm>
            <a:off x="965607" y="7472477"/>
            <a:ext cx="12706502" cy="384048"/>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2563856" y="384048"/>
            <a:ext cx="1097280" cy="384048"/>
          </a:xfrm>
        </p:spPr>
        <p:txBody>
          <a:bodyPr/>
          <a:lstStyle/>
          <a:p>
            <a:fld id="{0497C73F-6E79-4803-B481-2CFC8D98257E}" type="slidenum">
              <a:rPr lang="en-US" smtClean="0"/>
              <a:t>‹#›</a:t>
            </a:fld>
            <a:endParaRPr lang="en-US" dirty="0"/>
          </a:p>
        </p:txBody>
      </p:sp>
    </p:spTree>
    <p:extLst>
      <p:ext uri="{BB962C8B-B14F-4D97-AF65-F5344CB8AC3E}">
        <p14:creationId xmlns:p14="http://schemas.microsoft.com/office/powerpoint/2010/main" val="31959410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726440" y="2333960"/>
            <a:ext cx="13177520" cy="1938992"/>
          </a:xfrm>
        </p:spPr>
        <p:txBody>
          <a:bodyPr anchor="ctr"/>
          <a:lstStyle>
            <a:lvl1pPr algn="l">
              <a:lnSpc>
                <a:spcPct val="90000"/>
              </a:lnSpc>
              <a:defRPr sz="7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726440" y="6100268"/>
            <a:ext cx="13177520" cy="1777366"/>
          </a:xfrm>
        </p:spPr>
        <p:txBody>
          <a:bodyPr/>
          <a:lstStyle>
            <a:lvl1pPr marL="0" indent="0" algn="l">
              <a:lnSpc>
                <a:spcPts val="8000"/>
              </a:lnSpc>
              <a:spcBef>
                <a:spcPts val="0"/>
              </a:spcBef>
              <a:buNone/>
              <a:defRPr sz="7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F5E5CDCA-7999-6A42-B665-EC2AAA7B46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91456" y="3656702"/>
            <a:ext cx="5063744" cy="926846"/>
          </a:xfrm>
          <a:prstGeom prst="rect">
            <a:avLst/>
          </a:prstGeom>
        </p:spPr>
      </p:pic>
    </p:spTree>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1"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1" y="454150"/>
            <a:ext cx="13177520" cy="692497"/>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pic>
        <p:nvPicPr>
          <p:cNvPr id="9" name="Picture 8" descr="A picture containing drawing&#10;&#10;Description automatically generated">
            <a:extLst>
              <a:ext uri="{FF2B5EF4-FFF2-40B4-BE49-F238E27FC236}">
                <a16:creationId xmlns:a16="http://schemas.microsoft.com/office/drawing/2014/main" id="{A5B1140B-7339-3D42-9484-8BA5899A940D}"/>
              </a:ext>
            </a:extLst>
          </p:cNvPr>
          <p:cNvPicPr>
            <a:picLocks noChangeAspect="1"/>
          </p:cNvPicPr>
          <p:nvPr userDrawn="1"/>
        </p:nvPicPr>
        <p:blipFill>
          <a:blip r:embed="rId2"/>
          <a:stretch>
            <a:fillRect/>
          </a:stretch>
        </p:blipFill>
        <p:spPr>
          <a:xfrm>
            <a:off x="12070992" y="7653649"/>
            <a:ext cx="1729048" cy="339159"/>
          </a:xfrm>
          <a:prstGeom prst="rect">
            <a:avLst/>
          </a:prstGeom>
        </p:spPr>
      </p:pic>
    </p:spTree>
    <p:extLst>
      <p:ext uri="{BB962C8B-B14F-4D97-AF65-F5344CB8AC3E}">
        <p14:creationId xmlns:p14="http://schemas.microsoft.com/office/powerpoint/2010/main" val="64159014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JM"/>
          </a:p>
        </p:txBody>
      </p:sp>
      <p:sp>
        <p:nvSpPr>
          <p:cNvPr id="3" name="Content Placeholder 2"/>
          <p:cNvSpPr>
            <a:spLocks noGrp="1"/>
          </p:cNvSpPr>
          <p:nvPr>
            <p:ph idx="1"/>
          </p:nvPr>
        </p:nvSpPr>
        <p:spPr/>
        <p:txBody>
          <a:bodyPr>
            <a:normAutofit/>
          </a:bodyPr>
          <a:lstStyle>
            <a:lvl1pPr>
              <a:defRPr sz="2160">
                <a:solidFill>
                  <a:schemeClr val="tx1">
                    <a:lumMod val="65000"/>
                    <a:lumOff val="35000"/>
                  </a:schemeClr>
                </a:solidFill>
              </a:defRPr>
            </a:lvl1pPr>
            <a:lvl2pPr>
              <a:defRPr sz="1920">
                <a:solidFill>
                  <a:schemeClr val="tx1">
                    <a:lumMod val="65000"/>
                    <a:lumOff val="35000"/>
                  </a:schemeClr>
                </a:solidFill>
              </a:defRPr>
            </a:lvl2pPr>
            <a:lvl3pPr>
              <a:defRPr sz="1680">
                <a:solidFill>
                  <a:schemeClr val="tx1">
                    <a:lumMod val="65000"/>
                    <a:lumOff val="35000"/>
                  </a:schemeClr>
                </a:solidFill>
              </a:defRPr>
            </a:lvl3pPr>
            <a:lvl4pPr>
              <a:defRPr sz="1440">
                <a:solidFill>
                  <a:schemeClr val="tx1">
                    <a:lumMod val="65000"/>
                    <a:lumOff val="35000"/>
                  </a:schemeClr>
                </a:solidFill>
              </a:defRPr>
            </a:lvl4pPr>
            <a:lvl5pPr>
              <a:defRPr sz="1440">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JM"/>
          </a:p>
        </p:txBody>
      </p:sp>
      <p:sp>
        <p:nvSpPr>
          <p:cNvPr id="8" name="Text Placeholder 17"/>
          <p:cNvSpPr>
            <a:spLocks noGrp="1"/>
          </p:cNvSpPr>
          <p:nvPr>
            <p:ph type="body" sz="quarter" idx="23"/>
          </p:nvPr>
        </p:nvSpPr>
        <p:spPr>
          <a:xfrm>
            <a:off x="731520" y="1402080"/>
            <a:ext cx="8046720" cy="518160"/>
          </a:xfrm>
        </p:spPr>
        <p:txBody>
          <a:bodyPr>
            <a:noAutofit/>
          </a:bodyPr>
          <a:lstStyle>
            <a:lvl1pPr marL="0" indent="0" algn="l">
              <a:buFontTx/>
              <a:buNone/>
              <a:defRPr sz="1440" b="1">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48605" indent="0">
              <a:buFontTx/>
              <a:buNone/>
              <a:defRPr sz="1260">
                <a:latin typeface="Mission Gothic Regular" pitchFamily="50" charset="0"/>
              </a:defRPr>
            </a:lvl2pPr>
            <a:lvl3pPr marL="1097210" indent="0">
              <a:buFontTx/>
              <a:buNone/>
              <a:defRPr sz="1260">
                <a:latin typeface="Mission Gothic Regular" pitchFamily="50" charset="0"/>
              </a:defRPr>
            </a:lvl3pPr>
            <a:lvl4pPr marL="1645813" indent="0">
              <a:buFontTx/>
              <a:buNone/>
              <a:defRPr sz="1260">
                <a:latin typeface="Mission Gothic Regular" pitchFamily="50" charset="0"/>
              </a:defRPr>
            </a:lvl4pPr>
            <a:lvl5pPr marL="2194417" indent="0">
              <a:buFontTx/>
              <a:buNone/>
              <a:defRPr sz="1260">
                <a:latin typeface="Mission Gothic Regular" pitchFamily="50" charset="0"/>
              </a:defRPr>
            </a:lvl5pPr>
          </a:lstStyle>
          <a:p>
            <a:pPr lvl="0"/>
            <a:r>
              <a:rPr lang="en-US"/>
              <a:t>Edit Master text styles</a:t>
            </a:r>
          </a:p>
        </p:txBody>
      </p:sp>
    </p:spTree>
    <p:extLst>
      <p:ext uri="{BB962C8B-B14F-4D97-AF65-F5344CB8AC3E}">
        <p14:creationId xmlns:p14="http://schemas.microsoft.com/office/powerpoint/2010/main" val="6602340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15568"/>
            <a:ext cx="13182600" cy="18466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7" name="Slide Number Placeholder 5"/>
          <p:cNvSpPr>
            <a:spLocks noGrp="1"/>
          </p:cNvSpPr>
          <p:nvPr>
            <p:ph type="sldNum" sz="quarter" idx="4"/>
          </p:nvPr>
        </p:nvSpPr>
        <p:spPr>
          <a:xfrm>
            <a:off x="13903962" y="7599544"/>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81997241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custDataLst>
              <p:tags r:id="rId1"/>
            </p:custDataLst>
          </p:nvPr>
        </p:nvSpPr>
        <p:spPr bwMode="auto">
          <a:xfrm>
            <a:off x="731520" y="187882"/>
            <a:ext cx="13578154"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a:t>Click to edit Master title style</a:t>
            </a:r>
          </a:p>
        </p:txBody>
      </p:sp>
    </p:spTree>
    <p:extLst>
      <p:ext uri="{BB962C8B-B14F-4D97-AF65-F5344CB8AC3E}">
        <p14:creationId xmlns:p14="http://schemas.microsoft.com/office/powerpoint/2010/main" val="350332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3009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50101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2" y="505174"/>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ts val="7000"/>
              </a:lnSpc>
              <a:spcBef>
                <a:spcPts val="0"/>
              </a:spcBef>
              <a:spcAft>
                <a:spcPct val="0"/>
              </a:spcAft>
              <a:buClr>
                <a:schemeClr val="tx1"/>
              </a:buClr>
              <a:buSzPct val="100000"/>
              <a:buFont typeface="Arial" charset="0"/>
              <a:buNone/>
              <a:defRPr kumimoji="0" lang="en-US" sz="7000" b="1" i="0" u="none" strike="noStrike" kern="0" cap="none" spc="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2" y="2840701"/>
            <a:ext cx="10291330" cy="1777366"/>
          </a:xfrm>
        </p:spPr>
        <p:txBody>
          <a:bodyPr/>
          <a:lstStyle>
            <a:lvl1pPr marL="0" indent="0">
              <a:spcBef>
                <a:spcPts val="0"/>
              </a:spcBef>
              <a:buNone/>
              <a:defRPr sz="3501">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3466" y="3882508"/>
            <a:ext cx="8232472" cy="6361454"/>
          </a:xfrm>
          <a:prstGeom prst="rect">
            <a:avLst/>
          </a:prstGeom>
        </p:spPr>
      </p:pic>
    </p:spTree>
    <p:extLst>
      <p:ext uri="{BB962C8B-B14F-4D97-AF65-F5344CB8AC3E}">
        <p14:creationId xmlns:p14="http://schemas.microsoft.com/office/powerpoint/2010/main" val="44378502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3"/>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5"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2" y="2833803"/>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0" cap="none" spc="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2" y="5169331"/>
            <a:ext cx="10291330" cy="1777366"/>
          </a:xfrm>
        </p:spPr>
        <p:txBody>
          <a:bodyPr/>
          <a:lstStyle>
            <a:lvl1pPr marL="0" indent="0">
              <a:spcBef>
                <a:spcPts val="0"/>
              </a:spcBef>
              <a:buNone/>
              <a:defRPr sz="3501">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1586" y="-2319467"/>
            <a:ext cx="8293806" cy="6408850"/>
          </a:xfrm>
          <a:prstGeom prst="rect">
            <a:avLst/>
          </a:prstGeom>
        </p:spPr>
      </p:pic>
    </p:spTree>
    <p:extLst>
      <p:ext uri="{BB962C8B-B14F-4D97-AF65-F5344CB8AC3E}">
        <p14:creationId xmlns:p14="http://schemas.microsoft.com/office/powerpoint/2010/main" val="30266442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presentation title 3">
    <p:spTree>
      <p:nvGrpSpPr>
        <p:cNvPr id="1" name=""/>
        <p:cNvGrpSpPr/>
        <p:nvPr/>
      </p:nvGrpSpPr>
      <p:grpSpPr>
        <a:xfrm>
          <a:off x="0" y="0"/>
          <a:ext cx="0" cy="0"/>
          <a:chOff x="0" y="0"/>
          <a:chExt cx="0" cy="0"/>
        </a:xfrm>
      </p:grpSpPr>
      <p:sp>
        <p:nvSpPr>
          <p:cNvPr id="3" name="Rectangle 2"/>
          <p:cNvSpPr/>
          <p:nvPr userDrawn="1"/>
        </p:nvSpPr>
        <p:spPr bwMode="auto">
          <a:xfrm>
            <a:off x="0" y="6588975"/>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5"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2" y="843654"/>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0" cap="none" spc="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2" y="3179186"/>
            <a:ext cx="10291330" cy="914797"/>
          </a:xfrm>
        </p:spPr>
        <p:txBody>
          <a:bodyPr/>
          <a:lstStyle>
            <a:lvl1pPr marL="0" indent="0">
              <a:spcBef>
                <a:spcPts val="0"/>
              </a:spcBef>
              <a:buNone/>
              <a:defRPr sz="3501">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1586" y="4172740"/>
            <a:ext cx="8293806" cy="6408850"/>
          </a:xfrm>
          <a:prstGeom prst="rect">
            <a:avLst/>
          </a:prstGeom>
        </p:spPr>
      </p:pic>
    </p:spTree>
    <p:extLst>
      <p:ext uri="{BB962C8B-B14F-4D97-AF65-F5344CB8AC3E}">
        <p14:creationId xmlns:p14="http://schemas.microsoft.com/office/powerpoint/2010/main" val="10007092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2" y="1839564"/>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6" rtl="0" eaLnBrk="1" fontAlgn="auto" latinLnBrk="0" hangingPunct="1">
              <a:lnSpc>
                <a:spcPts val="8000"/>
              </a:lnSpc>
              <a:spcBef>
                <a:spcPts val="0"/>
              </a:spcBef>
              <a:spcAft>
                <a:spcPts val="0"/>
              </a:spcAft>
              <a:buClrTx/>
              <a:buSzTx/>
              <a:buFontTx/>
              <a:buNone/>
              <a:tabLst/>
              <a:defRPr kumimoji="0" lang="en-US" sz="7000" b="1" i="0" u="none" strike="noStrike" kern="0" cap="none" spc="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21179729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1"/>
            <a:ext cx="9137088" cy="1777366"/>
          </a:xfrm>
        </p:spPr>
        <p:txBody>
          <a:bodyPr/>
          <a:lstStyle>
            <a:lvl1pPr marL="0" indent="0">
              <a:spcBef>
                <a:spcPts val="0"/>
              </a:spcBef>
              <a:buNone/>
              <a:defRPr sz="3501">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hasCustomPrompt="1"/>
          </p:nvPr>
        </p:nvSpPr>
        <p:spPr>
          <a:xfrm>
            <a:off x="726442" y="1839564"/>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6" rtl="0" eaLnBrk="1" fontAlgn="auto" latinLnBrk="0" hangingPunct="1">
              <a:lnSpc>
                <a:spcPts val="8000"/>
              </a:lnSpc>
              <a:spcBef>
                <a:spcPts val="0"/>
              </a:spcBef>
              <a:spcAft>
                <a:spcPts val="0"/>
              </a:spcAft>
              <a:buClrTx/>
              <a:buSzTx/>
              <a:buFontTx/>
              <a:buNone/>
              <a:tabLst/>
              <a:defRPr kumimoji="0" lang="en-US" sz="7000" b="1" i="0" u="none" strike="noStrike" kern="0" cap="none" spc="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421854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6440" y="454149"/>
            <a:ext cx="12174912" cy="692499"/>
          </a:xfrm>
        </p:spPr>
        <p:txBody>
          <a:bodyPr/>
          <a:lstStyle>
            <a:lvl1pPr>
              <a:defRPr sz="4501">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721924" y="2055817"/>
            <a:ext cx="13182936" cy="5032693"/>
          </a:xfrm>
        </p:spPr>
        <p:txBody>
          <a:bodyPr/>
          <a:lstStyle>
            <a:lvl1pPr marL="0" marR="0" indent="0" algn="ctr" defTabSz="1097235" rtl="0" eaLnBrk="1" fontAlgn="base" latinLnBrk="0" hangingPunct="1">
              <a:lnSpc>
                <a:spcPct val="100000"/>
              </a:lnSpc>
              <a:spcBef>
                <a:spcPct val="0"/>
              </a:spcBef>
              <a:spcAft>
                <a:spcPct val="0"/>
              </a:spcAft>
              <a:buClrTx/>
              <a:buSzTx/>
              <a:buFontTx/>
              <a:buNone/>
              <a:tabLst/>
              <a:defRPr sz="2400"/>
            </a:lvl1pPr>
          </a:lstStyle>
          <a:p>
            <a:pPr marL="0" marR="0" lvl="0"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7639373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6440" y="454149"/>
            <a:ext cx="12174912" cy="692499"/>
          </a:xfrm>
        </p:spPr>
        <p:txBody>
          <a:bodyPr/>
          <a:lstStyle>
            <a:lvl1pPr>
              <a:defRPr sz="4501">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721924" y="2055817"/>
            <a:ext cx="13182936" cy="5032693"/>
          </a:xfrm>
        </p:spPr>
        <p:txBody>
          <a:bodyPr/>
          <a:lstStyle>
            <a:lvl1pPr marL="0" marR="0" indent="0" algn="ctr" defTabSz="1097235" rtl="0" eaLnBrk="1" fontAlgn="base" latinLnBrk="0" hangingPunct="1">
              <a:lnSpc>
                <a:spcPct val="100000"/>
              </a:lnSpc>
              <a:spcBef>
                <a:spcPct val="0"/>
              </a:spcBef>
              <a:spcAft>
                <a:spcPct val="0"/>
              </a:spcAft>
              <a:buClrTx/>
              <a:buSzTx/>
              <a:buFontTx/>
              <a:buNone/>
              <a:tabLst/>
              <a:defRPr sz="2400"/>
            </a:lvl1pPr>
          </a:lstStyle>
          <a:p>
            <a:pPr marL="0" marR="0" lvl="0"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5"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2"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1512225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7"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2695258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2"/>
            <a:ext cx="9137088"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6"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8"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Tree>
    <p:extLst>
      <p:ext uri="{BB962C8B-B14F-4D97-AF65-F5344CB8AC3E}">
        <p14:creationId xmlns:p14="http://schemas.microsoft.com/office/powerpoint/2010/main" val="326018129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2" y="2055816"/>
            <a:ext cx="13177520" cy="5466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501"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9" name="Text Placeholder 8"/>
          <p:cNvSpPr>
            <a:spLocks noGrp="1"/>
          </p:cNvSpPr>
          <p:nvPr>
            <p:ph type="body" sz="quarter" idx="11"/>
          </p:nvPr>
        </p:nvSpPr>
        <p:spPr>
          <a:xfrm>
            <a:off x="726442" y="2912749"/>
            <a:ext cx="13177520" cy="4398643"/>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12"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7"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323867912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2" y="2055815"/>
            <a:ext cx="13177520" cy="369334"/>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4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3"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6"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2" name="Title 1">
            <a:extLst>
              <a:ext uri="{FF2B5EF4-FFF2-40B4-BE49-F238E27FC236}">
                <a16:creationId xmlns:a16="http://schemas.microsoft.com/office/drawing/2014/main" id="{914C3890-72AE-4CCF-B541-8AC3323C0D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78660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26442" y="2055502"/>
            <a:ext cx="6482080" cy="5255893"/>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7422778" y="2055496"/>
            <a:ext cx="6482080" cy="5255894"/>
          </a:xfrm>
        </p:spPr>
        <p:txBody>
          <a:bodyPr/>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46914042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31" name="Text Placeholder 19"/>
          <p:cNvSpPr>
            <a:spLocks noGrp="1"/>
          </p:cNvSpPr>
          <p:nvPr>
            <p:ph type="body" sz="quarter" idx="20"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7" name="Content Placeholder 11"/>
          <p:cNvSpPr>
            <a:spLocks noGrp="1"/>
          </p:cNvSpPr>
          <p:nvPr>
            <p:ph sz="quarter" idx="26"/>
          </p:nvPr>
        </p:nvSpPr>
        <p:spPr>
          <a:xfrm>
            <a:off x="5206702" y="2055496"/>
            <a:ext cx="8697258" cy="5255894"/>
          </a:xfrm>
        </p:spPr>
        <p:txBody>
          <a:bodyPr/>
          <a:lstStyle>
            <a:lvl1pPr marL="0" indent="0">
              <a:buNone/>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p:cNvSpPr>
            <a:spLocks noGrp="1"/>
          </p:cNvSpPr>
          <p:nvPr>
            <p:ph type="body" sz="quarter" idx="27"/>
          </p:nvPr>
        </p:nvSpPr>
        <p:spPr>
          <a:xfrm>
            <a:off x="737874" y="2055502"/>
            <a:ext cx="4199890" cy="5255893"/>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38782623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502"/>
            <a:ext cx="6482080" cy="5255893"/>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2" y="2055496"/>
            <a:ext cx="6482080" cy="5255894"/>
          </a:xfrm>
        </p:spPr>
        <p:txBody>
          <a:bodyPr/>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38994206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5" y="2055496"/>
            <a:ext cx="4211320" cy="5255894"/>
          </a:xfrm>
          <a:noFill/>
        </p:spPr>
        <p:txBody>
          <a:bodyPr/>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4" y="2055496"/>
            <a:ext cx="4211320" cy="5255894"/>
          </a:xfrm>
          <a:noFill/>
        </p:spPr>
        <p:txBody>
          <a:bodyPr anchor="t"/>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4" y="2055496"/>
            <a:ext cx="4211320" cy="5255894"/>
          </a:xfrm>
          <a:noFill/>
        </p:spPr>
        <p:txBody>
          <a:bodyPr/>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10"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83697332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 columns 1x3 wht">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5" y="2092555"/>
            <a:ext cx="4211320" cy="5218835"/>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4" y="2092555"/>
            <a:ext cx="4211320" cy="5218835"/>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4" y="2092555"/>
            <a:ext cx="4211320" cy="5218835"/>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10"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211586916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5" y="2661051"/>
            <a:ext cx="4211320" cy="4650339"/>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4" y="2661051"/>
            <a:ext cx="4211320" cy="4650339"/>
          </a:xfrm>
          <a:solidFill>
            <a:schemeClr val="bg1"/>
          </a:solidFill>
          <a:ln>
            <a:noFill/>
          </a:ln>
        </p:spPr>
        <p:txBody>
          <a:bodyPr anchor="t"/>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4" y="2661051"/>
            <a:ext cx="4211320" cy="4650339"/>
          </a:xfrm>
          <a:solidFill>
            <a:schemeClr val="bg1"/>
          </a:solidFill>
          <a:ln>
            <a:noFill/>
          </a:ln>
        </p:spPr>
        <p:txBody>
          <a:bodyPr/>
          <a:lstStyle>
            <a:lvl1pPr marL="109534" indent="0">
              <a:buNone/>
              <a:defRPr sz="2000"/>
            </a:lvl1pPr>
            <a:lvl2pPr>
              <a:defRPr sz="2000"/>
            </a:lvl2pPr>
            <a:lvl3pPr>
              <a:defRPr sz="2000"/>
            </a:lvl3pPr>
            <a:lvl4pPr>
              <a:defRPr sz="2000"/>
            </a:lvl4pPr>
            <a:lvl5pPr>
              <a:defRPr sz="2000"/>
            </a:lvl5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10"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725700" y="2104647"/>
            <a:ext cx="4209838" cy="520702"/>
          </a:xfrm>
          <a:solidFill>
            <a:srgbClr val="FFFFFF"/>
          </a:solidFill>
        </p:spPr>
        <p:txBody>
          <a:bodyPr anchor="ctr"/>
          <a:lstStyle>
            <a:lvl1pPr marL="109534" indent="0">
              <a:buNone/>
              <a:defRPr sz="2000" b="1">
                <a:solidFill>
                  <a:schemeClr val="accent3"/>
                </a:solidFill>
              </a:defRPr>
            </a:lvl1pPr>
          </a:lstStyle>
          <a:p>
            <a:pPr lvl="0"/>
            <a:r>
              <a:rPr lang="en-US"/>
              <a:t>Edit Master text styles</a:t>
            </a:r>
          </a:p>
        </p:txBody>
      </p:sp>
      <p:sp>
        <p:nvSpPr>
          <p:cNvPr id="19" name="Text Placeholder 8"/>
          <p:cNvSpPr>
            <a:spLocks noGrp="1"/>
          </p:cNvSpPr>
          <p:nvPr>
            <p:ph type="body" sz="quarter" idx="23"/>
          </p:nvPr>
        </p:nvSpPr>
        <p:spPr>
          <a:xfrm>
            <a:off x="5212943" y="2104647"/>
            <a:ext cx="4209838" cy="520702"/>
          </a:xfrm>
          <a:solidFill>
            <a:srgbClr val="FFFFFF"/>
          </a:solidFill>
        </p:spPr>
        <p:txBody>
          <a:bodyPr anchor="ctr"/>
          <a:lstStyle>
            <a:lvl1pPr marL="109534" indent="0">
              <a:buNone/>
              <a:defRPr sz="2000" b="1">
                <a:solidFill>
                  <a:schemeClr val="accent2"/>
                </a:solidFill>
              </a:defRPr>
            </a:lvl1pPr>
          </a:lstStyle>
          <a:p>
            <a:pPr lvl="0"/>
            <a:r>
              <a:rPr lang="en-US"/>
              <a:t>Edit Master text styles</a:t>
            </a:r>
          </a:p>
        </p:txBody>
      </p:sp>
      <p:sp>
        <p:nvSpPr>
          <p:cNvPr id="20" name="Text Placeholder 8"/>
          <p:cNvSpPr>
            <a:spLocks noGrp="1"/>
          </p:cNvSpPr>
          <p:nvPr>
            <p:ph type="body" sz="quarter" idx="24"/>
          </p:nvPr>
        </p:nvSpPr>
        <p:spPr>
          <a:xfrm>
            <a:off x="9688089" y="2104647"/>
            <a:ext cx="4221150" cy="520702"/>
          </a:xfrm>
          <a:solidFill>
            <a:srgbClr val="FFFFFF"/>
          </a:solidFill>
        </p:spPr>
        <p:txBody>
          <a:bodyPr anchor="ctr"/>
          <a:lstStyle>
            <a:lvl1pPr marL="109534" indent="0">
              <a:buNone/>
              <a:defRPr sz="2000" b="1">
                <a:solidFill>
                  <a:schemeClr val="accent1"/>
                </a:solidFill>
              </a:defRPr>
            </a:lvl1pPr>
          </a:lstStyle>
          <a:p>
            <a:pPr lvl="0"/>
            <a:r>
              <a:rPr lang="en-US"/>
              <a:t>Edit Master text styles</a:t>
            </a:r>
          </a:p>
        </p:txBody>
      </p:sp>
    </p:spTree>
    <p:extLst>
      <p:ext uri="{BB962C8B-B14F-4D97-AF65-F5344CB8AC3E}">
        <p14:creationId xmlns:p14="http://schemas.microsoft.com/office/powerpoint/2010/main" val="19345923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6" name="Text Placeholder 5"/>
          <p:cNvSpPr>
            <a:spLocks noGrp="1"/>
          </p:cNvSpPr>
          <p:nvPr>
            <p:ph type="body" sz="quarter" idx="10"/>
          </p:nvPr>
        </p:nvSpPr>
        <p:spPr>
          <a:xfrm>
            <a:off x="726446" y="6851578"/>
            <a:ext cx="13177518" cy="459818"/>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r"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46" y="7266802"/>
            <a:ext cx="13177518" cy="276998"/>
          </a:xfrm>
        </p:spPr>
        <p:txBody>
          <a:bodyPr wrap="square" anchor="b" anchorCtr="0">
            <a:spAutoFit/>
          </a:bodyPr>
          <a:lstStyle>
            <a:lvl1pPr algn="r">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7"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5017505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bg>
      <p:bgPr>
        <a:solidFill>
          <a:schemeClr val="bg1"/>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sz="quarter" idx="13" hasCustomPrompt="1"/>
          </p:nvPr>
        </p:nvSpPr>
        <p:spPr>
          <a:xfrm>
            <a:off x="0" y="0"/>
            <a:ext cx="14630400" cy="8229600"/>
          </a:xfrm>
        </p:spPr>
        <p:txBody>
          <a:bodyPr anchor="ctr"/>
          <a:lstStyle>
            <a:lvl1pPr marL="0" indent="0" algn="ctr">
              <a:buNone/>
              <a:defRPr/>
            </a:lvl1pPr>
          </a:lstStyle>
          <a:p>
            <a:r>
              <a:rPr lang="en-US" dirty="0"/>
              <a:t>Full Bleed Image</a:t>
            </a:r>
          </a:p>
          <a:p>
            <a:endParaRPr lang="en-US" dirty="0"/>
          </a:p>
          <a:p>
            <a:r>
              <a:rPr lang="en-US" dirty="0"/>
              <a:t>No Copy</a:t>
            </a:r>
          </a:p>
        </p:txBody>
      </p:sp>
      <p:sp>
        <p:nvSpPr>
          <p:cNvPr id="6" name="Text Placeholder 5"/>
          <p:cNvSpPr>
            <a:spLocks noGrp="1"/>
          </p:cNvSpPr>
          <p:nvPr>
            <p:ph type="body" sz="quarter" idx="10"/>
          </p:nvPr>
        </p:nvSpPr>
        <p:spPr>
          <a:xfrm>
            <a:off x="726442" y="6851578"/>
            <a:ext cx="13177520" cy="459818"/>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4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68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726408" y="7266802"/>
            <a:ext cx="13177552" cy="276998"/>
          </a:xfrm>
        </p:spPr>
        <p:txBody>
          <a:bodyPr wrap="square" anchor="b" anchorCtr="0">
            <a:spAutoFit/>
          </a:bodyPr>
          <a:lstStyle>
            <a:lvl1pPr algn="l">
              <a:lnSpc>
                <a:spcPct val="100000"/>
              </a:lnSpc>
              <a:spcBef>
                <a:spcPts val="0"/>
              </a:spcBef>
              <a:buNone/>
              <a:defRPr sz="18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8"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1969384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16"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409073499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chemeClr val="accent1"/>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726442" y="2277537"/>
            <a:ext cx="13177520" cy="2051845"/>
          </a:xfrm>
        </p:spPr>
        <p:txBody>
          <a:bodyPr anchor="ctr"/>
          <a:lstStyle>
            <a:lvl1pPr algn="l">
              <a:lnSpc>
                <a:spcPts val="8000"/>
              </a:lnSpc>
              <a:defRPr sz="7000"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726442" y="6100267"/>
            <a:ext cx="13177520" cy="1777366"/>
          </a:xfrm>
        </p:spPr>
        <p:txBody>
          <a:bodyPr/>
          <a:lstStyle>
            <a:lvl1pPr marL="0" indent="0" algn="l">
              <a:lnSpc>
                <a:spcPts val="8000"/>
              </a:lnSpc>
              <a:spcBef>
                <a:spcPts val="0"/>
              </a:spcBef>
              <a:buNone/>
              <a:defRPr sz="7000"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5163125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26442" y="2277537"/>
            <a:ext cx="13177520" cy="2051845"/>
          </a:xfrm>
        </p:spPr>
        <p:txBody>
          <a:bodyPr anchor="ctr"/>
          <a:lstStyle>
            <a:lvl1pPr algn="l">
              <a:lnSpc>
                <a:spcPts val="8000"/>
              </a:lnSpc>
              <a:defRPr sz="70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726442" y="6100267"/>
            <a:ext cx="13177520" cy="1777366"/>
          </a:xfrm>
        </p:spPr>
        <p:txBody>
          <a:bodyPr/>
          <a:lstStyle>
            <a:lvl1pPr marL="0" indent="0" algn="l">
              <a:lnSpc>
                <a:spcPts val="8000"/>
              </a:lnSpc>
              <a:spcBef>
                <a:spcPts val="0"/>
              </a:spcBef>
              <a:buNone/>
              <a:defRPr sz="7000"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25514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726442" y="2277537"/>
            <a:ext cx="13177520" cy="2051845"/>
          </a:xfrm>
        </p:spPr>
        <p:txBody>
          <a:bodyPr anchor="ctr"/>
          <a:lstStyle>
            <a:lvl1pPr algn="l">
              <a:lnSpc>
                <a:spcPts val="8000"/>
              </a:lnSpc>
              <a:defRPr sz="70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726442" y="6100267"/>
            <a:ext cx="13177520" cy="1777366"/>
          </a:xfrm>
        </p:spPr>
        <p:txBody>
          <a:bodyPr/>
          <a:lstStyle>
            <a:lvl1pPr marL="0" indent="0" algn="l">
              <a:lnSpc>
                <a:spcPts val="8000"/>
              </a:lnSpc>
              <a:spcBef>
                <a:spcPts val="0"/>
              </a:spcBef>
              <a:buNone/>
              <a:defRPr sz="7000"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40529388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chemeClr val="accent1"/>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2" y="4712531"/>
            <a:ext cx="13177520" cy="1777366"/>
          </a:xfrm>
        </p:spPr>
        <p:txBody>
          <a:bodyPr/>
          <a:lstStyle>
            <a:lvl1pPr marL="0" indent="0">
              <a:spcBef>
                <a:spcPts val="0"/>
              </a:spcBef>
              <a:buNone/>
              <a:defRPr sz="350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2" y="1839564"/>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6" rtl="0" eaLnBrk="1" fontAlgn="auto" latinLnBrk="0" hangingPunct="1">
              <a:lnSpc>
                <a:spcPts val="8000"/>
              </a:lnSpc>
              <a:spcBef>
                <a:spcPts val="0"/>
              </a:spcBef>
              <a:spcAft>
                <a:spcPts val="0"/>
              </a:spcAft>
              <a:buClrTx/>
              <a:buSzTx/>
              <a:buFontTx/>
              <a:buNone/>
              <a:tabLst/>
              <a:defRPr kumimoji="0" lang="en-US" sz="7000" b="1" i="0" u="none" strike="noStrike" kern="0" cap="none" spc="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415433870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2" y="4712531"/>
            <a:ext cx="13177520" cy="1777366"/>
          </a:xfrm>
        </p:spPr>
        <p:txBody>
          <a:bodyPr/>
          <a:lstStyle>
            <a:lvl1pPr marL="0" indent="0">
              <a:spcBef>
                <a:spcPts val="0"/>
              </a:spcBef>
              <a:buNone/>
              <a:defRPr sz="350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726442" y="1839564"/>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6" rtl="0" eaLnBrk="1" fontAlgn="auto" latinLnBrk="0" hangingPunct="1">
              <a:lnSpc>
                <a:spcPts val="8000"/>
              </a:lnSpc>
              <a:spcBef>
                <a:spcPts val="0"/>
              </a:spcBef>
              <a:spcAft>
                <a:spcPts val="0"/>
              </a:spcAft>
              <a:buClrTx/>
              <a:buSzTx/>
              <a:buFontTx/>
              <a:buNone/>
              <a:tabLst/>
              <a:defRPr kumimoji="0" lang="en-US" sz="7000" b="1" i="0" u="none" strike="noStrike" kern="0" cap="none" spc="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20981367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2" y="4712531"/>
            <a:ext cx="13177520" cy="1777366"/>
          </a:xfrm>
        </p:spPr>
        <p:txBody>
          <a:bodyPr/>
          <a:lstStyle>
            <a:lvl1pPr marL="0" indent="0">
              <a:spcBef>
                <a:spcPts val="0"/>
              </a:spcBef>
              <a:buNone/>
              <a:defRPr sz="350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2" y="1839564"/>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6" rtl="0" eaLnBrk="1" fontAlgn="auto" latinLnBrk="0" hangingPunct="1">
              <a:lnSpc>
                <a:spcPts val="8000"/>
              </a:lnSpc>
              <a:spcBef>
                <a:spcPts val="0"/>
              </a:spcBef>
              <a:spcAft>
                <a:spcPts val="0"/>
              </a:spcAft>
              <a:buClrTx/>
              <a:buSzTx/>
              <a:buFontTx/>
              <a:buNone/>
              <a:tabLst/>
              <a:defRPr kumimoji="0" lang="en-US" sz="7000" b="1" i="0" u="none" strike="noStrike" kern="0" cap="none" spc="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3029178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64035" y="-200815"/>
            <a:ext cx="11129222" cy="8599853"/>
          </a:xfrm>
          <a:prstGeom prst="rect">
            <a:avLst/>
          </a:prstGeom>
        </p:spPr>
      </p:pic>
    </p:spTree>
    <p:extLst>
      <p:ext uri="{BB962C8B-B14F-4D97-AF65-F5344CB8AC3E}">
        <p14:creationId xmlns:p14="http://schemas.microsoft.com/office/powerpoint/2010/main" val="247046012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8" name="Rectangle 7"/>
          <p:cNvSpPr/>
          <p:nvPr userDrawn="1"/>
        </p:nvSpPr>
        <p:spPr>
          <a:xfrm>
            <a:off x="451558" y="381000"/>
            <a:ext cx="13709227" cy="7345680"/>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p>
        </p:txBody>
      </p:sp>
      <p:sp>
        <p:nvSpPr>
          <p:cNvPr id="11" name="Rectangle 10"/>
          <p:cNvSpPr/>
          <p:nvPr userDrawn="1"/>
        </p:nvSpPr>
        <p:spPr>
          <a:xfrm>
            <a:off x="549296" y="7393325"/>
            <a:ext cx="3062141" cy="607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0"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9296" y="7594811"/>
            <a:ext cx="2972928" cy="291328"/>
          </a:xfrm>
          <a:prstGeom prst="rect">
            <a:avLst/>
          </a:prstGeom>
        </p:spPr>
      </p:pic>
    </p:spTree>
    <p:extLst>
      <p:ext uri="{BB962C8B-B14F-4D97-AF65-F5344CB8AC3E}">
        <p14:creationId xmlns:p14="http://schemas.microsoft.com/office/powerpoint/2010/main" val="1483237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rgbClr val="C8102E"/>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0"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7421880" y="2055502"/>
            <a:ext cx="6482080" cy="5255893"/>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726442" y="2055496"/>
            <a:ext cx="6482080" cy="5255894"/>
          </a:xfrm>
        </p:spPr>
        <p:txBody>
          <a:bodyPr/>
          <a:lstStyle>
            <a:lvl1pPr marL="0" indent="0">
              <a:buNone/>
              <a:defRPr sz="2400"/>
            </a:lvl1pPr>
          </a:lstStyle>
          <a:p>
            <a:pPr lvl="0"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5">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0" name="Text Placeholder 19"/>
          <p:cNvSpPr>
            <a:spLocks noGrp="1"/>
          </p:cNvSpPr>
          <p:nvPr>
            <p:ph type="body" sz="quarter" idx="17" hasCustomPrompt="1"/>
          </p:nvPr>
        </p:nvSpPr>
        <p:spPr>
          <a:xfrm>
            <a:off x="8966202" y="7597642"/>
            <a:ext cx="4937763" cy="401952"/>
          </a:xfrm>
        </p:spPr>
        <p:txBody>
          <a:bodyPr anchor="ctr"/>
          <a:lstStyle>
            <a:lvl1pPr marL="0" indent="0" algn="r">
              <a:buNone/>
              <a:defRPr sz="1200" b="1"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OPTIONAL FUNCTION NAME</a:t>
            </a:r>
          </a:p>
        </p:txBody>
      </p:sp>
      <p:sp>
        <p:nvSpPr>
          <p:cNvPr id="14" name="Title 1"/>
          <p:cNvSpPr>
            <a:spLocks noGrp="1"/>
          </p:cNvSpPr>
          <p:nvPr>
            <p:ph type="title"/>
          </p:nvPr>
        </p:nvSpPr>
        <p:spPr>
          <a:xfrm>
            <a:off x="726442" y="454149"/>
            <a:ext cx="13177520" cy="692499"/>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21825093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626158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279914" y="281836"/>
            <a:ext cx="14070581" cy="443198"/>
          </a:xfrm>
        </p:spPr>
        <p:txBody>
          <a:bodyPr/>
          <a:lstStyle>
            <a:lvl1pPr>
              <a:defRPr sz="2880"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3085022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buClr>
                <a:schemeClr val="accent1"/>
              </a:buClr>
              <a:defRPr>
                <a:solidFill>
                  <a:srgbClr val="000000"/>
                </a:solidFill>
              </a:defRPr>
            </a:lvl1pPr>
            <a:lvl2pPr>
              <a:buClr>
                <a:schemeClr val="accent1"/>
              </a:buClr>
              <a:defRPr>
                <a:solidFill>
                  <a:srgbClr val="000000"/>
                </a:solidFill>
              </a:defRPr>
            </a:lvl2pPr>
            <a:lvl3pPr>
              <a:buClr>
                <a:schemeClr val="accent1"/>
              </a:buClr>
              <a:defRPr>
                <a:solidFill>
                  <a:srgbClr val="000000"/>
                </a:solidFill>
              </a:defRPr>
            </a:lvl3pPr>
            <a:lvl4pPr>
              <a:buClr>
                <a:schemeClr val="accent1"/>
              </a:buClr>
              <a:defRPr>
                <a:solidFill>
                  <a:srgbClr val="000000"/>
                </a:solidFill>
              </a:defRPr>
            </a:lvl4pPr>
            <a:lvl5pPr>
              <a:buClr>
                <a:schemeClr val="accent1"/>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956501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2 Column">
    <p:spTree>
      <p:nvGrpSpPr>
        <p:cNvPr id="1" name=""/>
        <p:cNvGrpSpPr/>
        <p:nvPr/>
      </p:nvGrpSpPr>
      <p:grpSpPr>
        <a:xfrm>
          <a:off x="0" y="0"/>
          <a:ext cx="0" cy="0"/>
          <a:chOff x="0" y="0"/>
          <a:chExt cx="0" cy="0"/>
        </a:xfrm>
      </p:grpSpPr>
      <p:sp>
        <p:nvSpPr>
          <p:cNvPr id="2" name="Title 1"/>
          <p:cNvSpPr>
            <a:spLocks noGrp="1"/>
          </p:cNvSpPr>
          <p:nvPr>
            <p:ph type="title"/>
          </p:nvPr>
        </p:nvSpPr>
        <p:spPr>
          <a:xfrm>
            <a:off x="914400" y="355602"/>
            <a:ext cx="12801600" cy="692600"/>
          </a:xfrm>
        </p:spPr>
        <p:txBody>
          <a:bodyPr/>
          <a:lstStyle/>
          <a:p>
            <a:r>
              <a:rPr lang="en-US"/>
              <a:t>Click to edit Master title style</a:t>
            </a:r>
          </a:p>
        </p:txBody>
      </p:sp>
      <p:sp>
        <p:nvSpPr>
          <p:cNvPr id="3" name="Content Placeholder 2"/>
          <p:cNvSpPr>
            <a:spLocks noGrp="1"/>
          </p:cNvSpPr>
          <p:nvPr>
            <p:ph idx="1"/>
          </p:nvPr>
        </p:nvSpPr>
        <p:spPr>
          <a:xfrm>
            <a:off x="914400" y="1828800"/>
            <a:ext cx="623620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1"/>
          </p:nvPr>
        </p:nvSpPr>
        <p:spPr>
          <a:xfrm>
            <a:off x="7479792" y="1828800"/>
            <a:ext cx="6236208"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60073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2" y="7312342"/>
            <a:ext cx="13182600" cy="191117"/>
          </a:xfrm>
        </p:spPr>
        <p:txBody>
          <a:bodyPr anchor="ctr"/>
          <a:lstStyle>
            <a:lvl1pPr marL="0" indent="0">
              <a:buNone/>
              <a:defRPr sz="1200"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Click to add footnote</a:t>
            </a:r>
          </a:p>
        </p:txBody>
      </p:sp>
      <p:sp>
        <p:nvSpPr>
          <p:cNvPr id="7" name="Slide Number Placeholder 5"/>
          <p:cNvSpPr>
            <a:spLocks noGrp="1"/>
          </p:cNvSpPr>
          <p:nvPr>
            <p:ph type="sldNum" sz="quarter" idx="4"/>
          </p:nvPr>
        </p:nvSpPr>
        <p:spPr>
          <a:xfrm>
            <a:off x="13903962" y="7599546"/>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8" name="Text Placeholder 19"/>
          <p:cNvSpPr>
            <a:spLocks noGrp="1"/>
          </p:cNvSpPr>
          <p:nvPr>
            <p:ph type="body" sz="quarter" idx="17" hasCustomPrompt="1"/>
          </p:nvPr>
        </p:nvSpPr>
        <p:spPr>
          <a:xfrm>
            <a:off x="8966202" y="7597642"/>
            <a:ext cx="4937763" cy="401952"/>
          </a:xfrm>
        </p:spPr>
        <p:txBody>
          <a:bodyPr anchor="ctr"/>
          <a:lstStyle>
            <a:lvl1pPr marL="0" indent="0" algn="r">
              <a:buNone/>
              <a:defRPr sz="1200" b="1" baseline="0"/>
            </a:lvl1pPr>
            <a:lvl2pPr marL="260595" indent="0">
              <a:buNone/>
              <a:defRPr sz="1200"/>
            </a:lvl2pPr>
            <a:lvl3pPr marL="636397" indent="0">
              <a:buNone/>
              <a:defRPr sz="1200"/>
            </a:lvl3pPr>
            <a:lvl4pPr marL="1075291" indent="0">
              <a:buNone/>
              <a:defRPr sz="1200"/>
            </a:lvl4pPr>
            <a:lvl5pPr marL="1556133" indent="0">
              <a:buNone/>
              <a:defRPr sz="1200"/>
            </a:lvl5pPr>
          </a:lstStyle>
          <a:p>
            <a:r>
              <a:rPr lang="en-US" sz="1200">
                <a:solidFill>
                  <a:srgbClr val="595959"/>
                </a:solidFill>
              </a:rPr>
              <a:t>OPTIONAL FUNCTION NAME</a:t>
            </a:r>
          </a:p>
        </p:txBody>
      </p:sp>
    </p:spTree>
    <p:extLst>
      <p:ext uri="{BB962C8B-B14F-4D97-AF65-F5344CB8AC3E}">
        <p14:creationId xmlns:p14="http://schemas.microsoft.com/office/powerpoint/2010/main" val="36724646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title, sub, columns 1x3">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3" y="2055496"/>
            <a:ext cx="4211320" cy="5255894"/>
          </a:xfrm>
          <a:noFill/>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4" y="2055496"/>
            <a:ext cx="4211320" cy="5255894"/>
          </a:xfrm>
          <a:noFill/>
        </p:spPr>
        <p:txBody>
          <a:bodyPr anchor="t"/>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4" y="2055496"/>
            <a:ext cx="4211320" cy="5255894"/>
          </a:xfrm>
          <a:noFill/>
        </p:spPr>
        <p:txBody>
          <a:bodyPr/>
          <a:lstStyle>
            <a:lvl1pPr marL="0" indent="0">
              <a:buNone/>
              <a:defRPr sz="2400"/>
            </a:lvl1pPr>
          </a:lstStyle>
          <a:p>
            <a:pPr lvl="0"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192">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2" y="7312345"/>
            <a:ext cx="13182600" cy="191115"/>
          </a:xfrm>
        </p:spPr>
        <p:txBody>
          <a:bodyPr anchor="ctr"/>
          <a:lstStyle>
            <a:lvl1pPr marL="0" indent="0">
              <a:buNone/>
              <a:defRPr sz="1200"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Click to add footnote</a:t>
            </a:r>
          </a:p>
        </p:txBody>
      </p:sp>
      <p:sp>
        <p:nvSpPr>
          <p:cNvPr id="10" name="Slide Number Placeholder 5"/>
          <p:cNvSpPr>
            <a:spLocks noGrp="1"/>
          </p:cNvSpPr>
          <p:nvPr>
            <p:ph type="sldNum" sz="quarter" idx="4"/>
          </p:nvPr>
        </p:nvSpPr>
        <p:spPr>
          <a:xfrm>
            <a:off x="13903962" y="7599545"/>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
        <p:nvSpPr>
          <p:cNvPr id="11" name="Text Placeholder 19"/>
          <p:cNvSpPr>
            <a:spLocks noGrp="1"/>
          </p:cNvSpPr>
          <p:nvPr>
            <p:ph type="body" sz="quarter" idx="21" hasCustomPrompt="1"/>
          </p:nvPr>
        </p:nvSpPr>
        <p:spPr>
          <a:xfrm>
            <a:off x="8966202" y="7597642"/>
            <a:ext cx="4937763" cy="401952"/>
          </a:xfrm>
        </p:spPr>
        <p:txBody>
          <a:bodyPr anchor="ctr"/>
          <a:lstStyle>
            <a:lvl1pPr marL="0" indent="0" algn="r">
              <a:buNone/>
              <a:defRPr sz="1200" b="1" baseline="0"/>
            </a:lvl1pPr>
            <a:lvl2pPr marL="260582" indent="0">
              <a:buNone/>
              <a:defRPr sz="1200"/>
            </a:lvl2pPr>
            <a:lvl3pPr marL="636371" indent="0">
              <a:buNone/>
              <a:defRPr sz="1200"/>
            </a:lvl3pPr>
            <a:lvl4pPr marL="1075248" indent="0">
              <a:buNone/>
              <a:defRPr sz="1200"/>
            </a:lvl4pPr>
            <a:lvl5pPr marL="1556070" indent="0">
              <a:buNone/>
              <a:defRPr sz="1200"/>
            </a:lvl5pPr>
          </a:lstStyle>
          <a:p>
            <a:r>
              <a:rPr lang="en-US" sz="1200">
                <a:solidFill>
                  <a:srgbClr val="595959"/>
                </a:solidFill>
              </a:rPr>
              <a:t>OPTIONAL FUNCTION NAME</a:t>
            </a:r>
          </a:p>
        </p:txBody>
      </p:sp>
      <p:sp>
        <p:nvSpPr>
          <p:cNvPr id="14" name="Title 1"/>
          <p:cNvSpPr>
            <a:spLocks noGrp="1"/>
          </p:cNvSpPr>
          <p:nvPr>
            <p:ph type="title"/>
          </p:nvPr>
        </p:nvSpPr>
        <p:spPr>
          <a:xfrm>
            <a:off x="726442" y="454153"/>
            <a:ext cx="13177520" cy="692498"/>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2" y="1222849"/>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Tree>
    <p:extLst>
      <p:ext uri="{BB962C8B-B14F-4D97-AF65-F5344CB8AC3E}">
        <p14:creationId xmlns:p14="http://schemas.microsoft.com/office/powerpoint/2010/main" val="2309422942"/>
      </p:ext>
    </p:extLst>
  </p:cSld>
  <p:clrMapOvr>
    <a:masterClrMapping/>
  </p:clrMapOvr>
  <p:transition>
    <p:fade/>
  </p:transition>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1"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ts val="7000"/>
              </a:lnSpc>
              <a:spcBef>
                <a:spcPts val="0"/>
              </a:spcBef>
              <a:spcAft>
                <a:spcPct val="0"/>
              </a:spcAft>
              <a:buClr>
                <a:schemeClr val="tx1"/>
              </a:buClr>
              <a:buSzPct val="100000"/>
              <a:buFont typeface="Arial" charset="0"/>
              <a:buNone/>
              <a:defRPr kumimoji="0" lang="en-US" sz="7000" b="1" i="0" u="none" strike="noStrike" kern="0" cap="none" spc="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3468" y="3882508"/>
            <a:ext cx="8232472" cy="6361454"/>
          </a:xfrm>
          <a:prstGeom prst="rect">
            <a:avLst/>
          </a:prstGeom>
        </p:spPr>
      </p:pic>
    </p:spTree>
    <p:extLst>
      <p:ext uri="{BB962C8B-B14F-4D97-AF65-F5344CB8AC3E}">
        <p14:creationId xmlns:p14="http://schemas.microsoft.com/office/powerpoint/2010/main" val="143283516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ts val="7999"/>
              </a:lnSpc>
              <a:spcBef>
                <a:spcPts val="0"/>
              </a:spcBef>
              <a:spcAft>
                <a:spcPts val="0"/>
              </a:spcAft>
              <a:buClrTx/>
              <a:buSzTx/>
              <a:buFontTx/>
              <a:buNone/>
              <a:tabLst/>
              <a:defRPr kumimoji="0" lang="en-US" sz="7000" b="1" i="0" u="none" strike="noStrike" kern="0" cap="none" spc="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2658453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p:nvPr>
        </p:nvSpPr>
        <p:spPr>
          <a:xfrm>
            <a:off x="5209542" y="2055496"/>
            <a:ext cx="4211320" cy="5255894"/>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9692642" y="2055496"/>
            <a:ext cx="4211320" cy="5255894"/>
          </a:xfrm>
          <a:noFill/>
        </p:spPr>
        <p:txBody>
          <a:bodyPr anchor="t"/>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726442" y="2055496"/>
            <a:ext cx="4211320" cy="5255894"/>
          </a:xfrm>
          <a:noFill/>
        </p:spPr>
        <p:txBody>
          <a:bodyPr/>
          <a:lstStyle>
            <a:lvl1pPr marL="0" indent="0">
              <a:buNone/>
              <a:defRPr sz="2400"/>
            </a:lvl1pPr>
          </a:lstStyle>
          <a:p>
            <a:pPr lvl="0"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1097236">
              <a:spcBef>
                <a:spcPct val="0"/>
              </a:spcBef>
            </a:pPr>
            <a:r>
              <a:rPr lang="en-US" sz="24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721361" y="7312343"/>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0" name="Slide Number Placeholder 5"/>
          <p:cNvSpPr>
            <a:spLocks noGrp="1"/>
          </p:cNvSpPr>
          <p:nvPr>
            <p:ph type="sldNum" sz="quarter" idx="4"/>
          </p:nvPr>
        </p:nvSpPr>
        <p:spPr>
          <a:xfrm>
            <a:off x="13903962" y="7599544"/>
            <a:ext cx="545280" cy="400050"/>
          </a:xfrm>
          <a:prstGeom prst="rect">
            <a:avLst/>
          </a:prstGeom>
        </p:spPr>
        <p:txBody>
          <a:bodyPr vert="horz" lIns="91440" tIns="45720" rIns="91440" bIns="45720" rtlCol="0" anchor="ctr"/>
          <a:lstStyle>
            <a:lvl1pPr algn="r">
              <a:defRPr sz="960">
                <a:solidFill>
                  <a:schemeClr val="bg1">
                    <a:lumMod val="65000"/>
                  </a:schemeClr>
                </a:solidFill>
              </a:defRPr>
            </a:lvl1pPr>
          </a:lstStyle>
          <a:p>
            <a:fld id="{AD816501-AAE5-214E-B100-00C3DC5F5E3F}" type="slidenum">
              <a:rPr lang="en-US" smtClean="0"/>
              <a:pPr/>
              <a:t>‹#›</a:t>
            </a:fld>
            <a:endParaRPr lang="en-US" dirty="0"/>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9" name="Rectangle 1"/>
          <p:cNvSpPr>
            <a:spLocks noGrp="1" noChangeArrowheads="1"/>
          </p:cNvSpPr>
          <p:nvPr>
            <p:ph type="title"/>
          </p:nvPr>
        </p:nvSpPr>
        <p:spPr bwMode="auto">
          <a:xfrm>
            <a:off x="726440" y="454150"/>
            <a:ext cx="12174912" cy="4431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Tree>
    <p:extLst>
      <p:ext uri="{BB962C8B-B14F-4D97-AF65-F5344CB8AC3E}">
        <p14:creationId xmlns:p14="http://schemas.microsoft.com/office/powerpoint/2010/main" val="19485541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EAD0FA-7E1F-47BA-A886-803FEAB4B273}"/>
              </a:ext>
            </a:extLst>
          </p:cNvPr>
          <p:cNvSpPr>
            <a:spLocks noGrp="1"/>
          </p:cNvSpPr>
          <p:nvPr>
            <p:ph type="sldNum" sz="quarter" idx="10"/>
          </p:nvPr>
        </p:nvSpPr>
        <p:spPr/>
        <p:txBody>
          <a:bodyPr/>
          <a:lstStyle/>
          <a:p>
            <a:r>
              <a:rPr lang="en-US" dirty="0"/>
              <a:t>&lt;#&gt;</a:t>
            </a:r>
          </a:p>
        </p:txBody>
      </p:sp>
    </p:spTree>
    <p:extLst>
      <p:ext uri="{BB962C8B-B14F-4D97-AF65-F5344CB8AC3E}">
        <p14:creationId xmlns:p14="http://schemas.microsoft.com/office/powerpoint/2010/main" val="30159624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41" y="505172"/>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2840701"/>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3FEDC63A-6342-AB4F-9D5C-0F457543EA8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1005178051"/>
      </p:ext>
    </p:extLst>
  </p:cSld>
  <p:clrMapOvr>
    <a:masterClrMapping/>
  </p:clrMapOvr>
  <p:transition>
    <p:fade/>
  </p:transition>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2"/>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2833804"/>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5169332"/>
            <a:ext cx="10291330"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F26A83DB-15DE-5F4B-B02D-DC4E407EC08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537728"/>
            <a:ext cx="3794119" cy="694460"/>
          </a:xfrm>
          <a:prstGeom prst="rect">
            <a:avLst/>
          </a:prstGeom>
        </p:spPr>
      </p:pic>
    </p:spTree>
    <p:extLst>
      <p:ext uri="{BB962C8B-B14F-4D97-AF65-F5344CB8AC3E}">
        <p14:creationId xmlns:p14="http://schemas.microsoft.com/office/powerpoint/2010/main" val="3532927778"/>
      </p:ext>
    </p:extLst>
  </p:cSld>
  <p:clrMapOvr>
    <a:masterClrMapping/>
  </p:clrMapOvr>
  <p:transition>
    <p:fade/>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presentation title 3">
    <p:spTree>
      <p:nvGrpSpPr>
        <p:cNvPr id="1" name=""/>
        <p:cNvGrpSpPr/>
        <p:nvPr/>
      </p:nvGrpSpPr>
      <p:grpSpPr>
        <a:xfrm>
          <a:off x="0" y="0"/>
          <a:ext cx="0" cy="0"/>
          <a:chOff x="0" y="0"/>
          <a:chExt cx="0" cy="0"/>
        </a:xfrm>
      </p:grpSpPr>
      <p:sp>
        <p:nvSpPr>
          <p:cNvPr id="3" name="Rectangle 2"/>
          <p:cNvSpPr/>
          <p:nvPr userDrawn="1"/>
        </p:nvSpPr>
        <p:spPr bwMode="auto">
          <a:xfrm>
            <a:off x="0" y="6588974"/>
            <a:ext cx="14630400" cy="1640627"/>
          </a:xfrm>
          <a:prstGeom prst="rect">
            <a:avLst/>
          </a:prstGeom>
          <a:solidFill>
            <a:srgbClr val="FFFFFF"/>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726441" y="843655"/>
            <a:ext cx="13177520" cy="1938528"/>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7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726440" y="3657402"/>
            <a:ext cx="10291330" cy="91479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7BC504DF-781C-A242-8C76-46037FCB355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362" y="7032579"/>
            <a:ext cx="3794119" cy="694460"/>
          </a:xfrm>
          <a:prstGeom prst="rect">
            <a:avLst/>
          </a:prstGeom>
        </p:spPr>
      </p:pic>
    </p:spTree>
    <p:extLst>
      <p:ext uri="{BB962C8B-B14F-4D97-AF65-F5344CB8AC3E}">
        <p14:creationId xmlns:p14="http://schemas.microsoft.com/office/powerpoint/2010/main" val="2469830848"/>
      </p:ext>
    </p:extLst>
  </p:cSld>
  <p:clrMapOvr>
    <a:masterClrMapping/>
  </p:clrMapOvr>
  <p:transition>
    <p:fade/>
  </p:transition>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3746038353"/>
      </p:ext>
    </p:extLst>
  </p:cSld>
  <p:clrMapOvr>
    <a:masterClrMapping/>
  </p:clrMapOvr>
  <p:transition>
    <p:fade/>
  </p:transition>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2"/>
            <a:ext cx="9137088" cy="1777366"/>
          </a:xfrm>
        </p:spPr>
        <p:txBody>
          <a:bodyPr/>
          <a:lstStyle>
            <a:lvl1pPr marL="0" indent="0">
              <a:spcBef>
                <a:spcPts val="0"/>
              </a:spcBef>
              <a:buNone/>
              <a:defRPr sz="3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081127812"/>
      </p:ext>
    </p:extLst>
  </p:cSld>
  <p:clrMapOvr>
    <a:masterClrMapping/>
  </p:clrMapOvr>
  <p:transition>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002406656"/>
      </p:ext>
    </p:extLst>
  </p:cSld>
  <p:clrMapOvr>
    <a:masterClrMapping/>
  </p:clrMapOvr>
  <p:transition>
    <p:fade/>
  </p:transition>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rgbClr val="C8102E"/>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1707906397"/>
      </p:ext>
    </p:extLst>
  </p:cSld>
  <p:clrMapOvr>
    <a:masterClrMapping/>
  </p:clrMapOvr>
  <p:transition>
    <p:fade/>
  </p:transition>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4191580462"/>
      </p:ext>
    </p:extLst>
  </p:cSld>
  <p:clrMapOvr>
    <a:masterClrMapping/>
  </p:clrMapOvr>
  <p:transition>
    <p:fade/>
  </p:transition>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738537811"/>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726440"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726440" y="1839559"/>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96"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524309180"/>
      </p:ext>
    </p:extLst>
  </p:cSld>
  <p:clrMapOvr>
    <a:masterClrMapping/>
  </p:clrMapOvr>
  <p:transition>
    <p:fade/>
  </p:transition>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726441" y="4712532"/>
            <a:ext cx="13177520" cy="1777366"/>
          </a:xfrm>
        </p:spPr>
        <p:txBody>
          <a:bodyPr/>
          <a:lstStyle>
            <a:lvl1pPr marL="0" indent="0">
              <a:spcBef>
                <a:spcPts val="0"/>
              </a:spcBef>
              <a:buNone/>
              <a:defRPr sz="3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726441" y="1839560"/>
            <a:ext cx="13177520" cy="247597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768065" rtl="0" eaLnBrk="1" fontAlgn="auto" latinLnBrk="0" hangingPunct="1">
              <a:lnSpc>
                <a:spcPct val="90000"/>
              </a:lnSpc>
              <a:spcBef>
                <a:spcPts val="0"/>
              </a:spcBef>
              <a:spcAft>
                <a:spcPts val="0"/>
              </a:spcAft>
              <a:buClrTx/>
              <a:buSzTx/>
              <a:buFontTx/>
              <a:buNone/>
              <a:tabLst/>
              <a:defRPr kumimoji="0" lang="en-US" sz="7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768065"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Tree>
    <p:extLst>
      <p:ext uri="{BB962C8B-B14F-4D97-AF65-F5344CB8AC3E}">
        <p14:creationId xmlns:p14="http://schemas.microsoft.com/office/powerpoint/2010/main" val="278273242"/>
      </p:ext>
    </p:extLst>
  </p:cSld>
  <p:clrMapOvr>
    <a:masterClrMapping/>
  </p:clrMapOvr>
  <p:transition>
    <p:fade/>
  </p:transition>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4"/>
            <a:ext cx="13182936" cy="5003293"/>
          </a:xfrm>
        </p:spPr>
        <p:txBody>
          <a:bodyPr/>
          <a:lstStyle>
            <a:lvl1pPr marL="0" marR="0" indent="0" algn="ctr" defTabSz="1097236" rtl="0" eaLnBrk="1" fontAlgn="base" latinLnBrk="0" hangingPunct="1">
              <a:lnSpc>
                <a:spcPct val="100000"/>
              </a:lnSpc>
              <a:spcBef>
                <a:spcPct val="0"/>
              </a:spcBef>
              <a:spcAft>
                <a:spcPct val="0"/>
              </a:spcAft>
              <a:buClrTx/>
              <a:buSzTx/>
              <a:buFontTx/>
              <a:buNone/>
              <a:tabLst/>
              <a:defRPr sz="2400"/>
            </a:lvl1pPr>
          </a:lstStyle>
          <a:p>
            <a:pPr marL="0" marR="0" lvl="0"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9" name="Slide Number Placeholder 5"/>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4" name="Text Placeholder 3">
            <a:extLst>
              <a:ext uri="{FF2B5EF4-FFF2-40B4-BE49-F238E27FC236}">
                <a16:creationId xmlns:a16="http://schemas.microsoft.com/office/drawing/2014/main" id="{5397A512-B9EE-674C-A111-FE2D1D64CCEA}"/>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726440" y="454150"/>
            <a:ext cx="12174912" cy="692497"/>
          </a:xfrm>
        </p:spPr>
        <p:txBody>
          <a:bodyPr/>
          <a:lstStyle>
            <a:lvl1pPr>
              <a:defRPr kern="1500" spc="-100" baseline="0"/>
            </a:lvl1pPr>
          </a:lstStyle>
          <a:p>
            <a:r>
              <a:rPr lang="en-US"/>
              <a:t>Click to edit Master title style</a:t>
            </a:r>
          </a:p>
        </p:txBody>
      </p:sp>
    </p:spTree>
    <p:extLst>
      <p:ext uri="{BB962C8B-B14F-4D97-AF65-F5344CB8AC3E}">
        <p14:creationId xmlns:p14="http://schemas.microsoft.com/office/powerpoint/2010/main" val="46654697"/>
      </p:ext>
    </p:extLst>
  </p:cSld>
  <p:clrMapOvr>
    <a:masterClrMapping/>
  </p:clrMapOvr>
  <p:transition>
    <p:fade/>
  </p:transition>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721921" y="2055814"/>
            <a:ext cx="13182936" cy="5003293"/>
          </a:xfrm>
        </p:spPr>
        <p:txBody>
          <a:bodyPr/>
          <a:lstStyle>
            <a:lvl1pPr marL="0" marR="0" indent="0" algn="ctr" defTabSz="1097236" rtl="0" eaLnBrk="1" fontAlgn="base" latinLnBrk="0" hangingPunct="1">
              <a:lnSpc>
                <a:spcPct val="100000"/>
              </a:lnSpc>
              <a:spcBef>
                <a:spcPct val="0"/>
              </a:spcBef>
              <a:spcAft>
                <a:spcPct val="0"/>
              </a:spcAft>
              <a:buClrTx/>
              <a:buSzTx/>
              <a:buFontTx/>
              <a:buNone/>
              <a:tabLst/>
              <a:defRPr sz="2400"/>
            </a:lvl1pPr>
          </a:lstStyle>
          <a:p>
            <a:pPr marL="0" marR="0" lvl="0"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1097236"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7773023"/>
      </p:ext>
    </p:extLst>
  </p:cSld>
  <p:clrMapOvr>
    <a:masterClrMapping/>
  </p:clrMapOvr>
  <p:transition>
    <p:fade/>
  </p:transition>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tle, sub, multi image">
    <p:bg>
      <p:bgPr>
        <a:solidFill>
          <a:schemeClr val="bg1"/>
        </a:solidFill>
        <a:effectLst/>
      </p:bgPr>
    </p:bg>
    <p:spTree>
      <p:nvGrpSpPr>
        <p:cNvPr id="1" name=""/>
        <p:cNvGrpSpPr/>
        <p:nvPr/>
      </p:nvGrpSpPr>
      <p:grpSpPr>
        <a:xfrm>
          <a:off x="0" y="0"/>
          <a:ext cx="0" cy="0"/>
          <a:chOff x="0" y="0"/>
          <a:chExt cx="0" cy="0"/>
        </a:xfrm>
      </p:grpSpPr>
      <p:sp>
        <p:nvSpPr>
          <p:cNvPr id="16"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2"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chemeClr val="tx2"/>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 name="Title 1">
            <a:extLst>
              <a:ext uri="{FF2B5EF4-FFF2-40B4-BE49-F238E27FC236}">
                <a16:creationId xmlns:a16="http://schemas.microsoft.com/office/drawing/2014/main" id="{DE4657BC-2BC6-344D-BA73-33733418FCC6}"/>
              </a:ext>
            </a:extLst>
          </p:cNvPr>
          <p:cNvSpPr>
            <a:spLocks noGrp="1"/>
          </p:cNvSpPr>
          <p:nvPr>
            <p:ph type="title"/>
          </p:nvPr>
        </p:nvSpPr>
        <p:spPr/>
        <p:txBody>
          <a:bodyPr/>
          <a:lstStyle/>
          <a:p>
            <a:r>
              <a:rPr lang="en-US"/>
              <a:t>Click to edit Master title style</a:t>
            </a:r>
          </a:p>
        </p:txBody>
      </p:sp>
      <p:sp>
        <p:nvSpPr>
          <p:cNvPr id="23" name="Picture Placeholder 3">
            <a:extLst>
              <a:ext uri="{FF2B5EF4-FFF2-40B4-BE49-F238E27FC236}">
                <a16:creationId xmlns:a16="http://schemas.microsoft.com/office/drawing/2014/main" id="{FE862BD8-3F1C-604A-8A05-69334A1195EA}"/>
              </a:ext>
            </a:extLst>
          </p:cNvPr>
          <p:cNvSpPr>
            <a:spLocks noGrp="1"/>
          </p:cNvSpPr>
          <p:nvPr>
            <p:ph type="pic" sz="quarter" idx="18"/>
          </p:nvPr>
        </p:nvSpPr>
        <p:spPr>
          <a:xfrm>
            <a:off x="720725" y="2337855"/>
            <a:ext cx="3137122" cy="2110753"/>
          </a:xfrm>
        </p:spPr>
        <p:txBody>
          <a:bodyPr/>
          <a:lstStyle/>
          <a:p>
            <a:endParaRPr lang="en-US" dirty="0"/>
          </a:p>
        </p:txBody>
      </p:sp>
      <p:sp>
        <p:nvSpPr>
          <p:cNvPr id="24" name="Picture Placeholder 3">
            <a:extLst>
              <a:ext uri="{FF2B5EF4-FFF2-40B4-BE49-F238E27FC236}">
                <a16:creationId xmlns:a16="http://schemas.microsoft.com/office/drawing/2014/main" id="{61F73758-8634-BF4C-AAE3-3308888FD84F}"/>
              </a:ext>
            </a:extLst>
          </p:cNvPr>
          <p:cNvSpPr>
            <a:spLocks noGrp="1"/>
          </p:cNvSpPr>
          <p:nvPr>
            <p:ph type="pic" sz="quarter" idx="19"/>
          </p:nvPr>
        </p:nvSpPr>
        <p:spPr>
          <a:xfrm>
            <a:off x="4062287" y="2334793"/>
            <a:ext cx="3137122" cy="2110753"/>
          </a:xfrm>
        </p:spPr>
        <p:txBody>
          <a:bodyPr/>
          <a:lstStyle/>
          <a:p>
            <a:endParaRPr lang="en-US" dirty="0"/>
          </a:p>
        </p:txBody>
      </p:sp>
      <p:sp>
        <p:nvSpPr>
          <p:cNvPr id="25" name="Picture Placeholder 3">
            <a:extLst>
              <a:ext uri="{FF2B5EF4-FFF2-40B4-BE49-F238E27FC236}">
                <a16:creationId xmlns:a16="http://schemas.microsoft.com/office/drawing/2014/main" id="{08CC4309-5DD8-1C47-B3CD-8166470D4059}"/>
              </a:ext>
            </a:extLst>
          </p:cNvPr>
          <p:cNvSpPr>
            <a:spLocks noGrp="1"/>
          </p:cNvSpPr>
          <p:nvPr>
            <p:ph type="pic" sz="quarter" idx="20"/>
          </p:nvPr>
        </p:nvSpPr>
        <p:spPr>
          <a:xfrm>
            <a:off x="7403849" y="2342449"/>
            <a:ext cx="3137122" cy="2110753"/>
          </a:xfrm>
        </p:spPr>
        <p:txBody>
          <a:bodyPr/>
          <a:lstStyle/>
          <a:p>
            <a:endParaRPr lang="en-US" dirty="0"/>
          </a:p>
        </p:txBody>
      </p:sp>
      <p:sp>
        <p:nvSpPr>
          <p:cNvPr id="26" name="Picture Placeholder 3">
            <a:extLst>
              <a:ext uri="{FF2B5EF4-FFF2-40B4-BE49-F238E27FC236}">
                <a16:creationId xmlns:a16="http://schemas.microsoft.com/office/drawing/2014/main" id="{C62BCD82-F855-3D4E-ABF6-A3A9F38ABB76}"/>
              </a:ext>
            </a:extLst>
          </p:cNvPr>
          <p:cNvSpPr>
            <a:spLocks noGrp="1"/>
          </p:cNvSpPr>
          <p:nvPr>
            <p:ph type="pic" sz="quarter" idx="21"/>
          </p:nvPr>
        </p:nvSpPr>
        <p:spPr>
          <a:xfrm>
            <a:off x="10745412" y="2353735"/>
            <a:ext cx="3137122" cy="2110753"/>
          </a:xfrm>
        </p:spPr>
        <p:txBody>
          <a:bodyPr/>
          <a:lstStyle/>
          <a:p>
            <a:endParaRPr lang="en-US" dirty="0"/>
          </a:p>
        </p:txBody>
      </p:sp>
      <p:sp>
        <p:nvSpPr>
          <p:cNvPr id="27" name="Picture Placeholder 3">
            <a:extLst>
              <a:ext uri="{FF2B5EF4-FFF2-40B4-BE49-F238E27FC236}">
                <a16:creationId xmlns:a16="http://schemas.microsoft.com/office/drawing/2014/main" id="{811C0FAF-F980-BE46-B15B-CB96D0EA330B}"/>
              </a:ext>
            </a:extLst>
          </p:cNvPr>
          <p:cNvSpPr>
            <a:spLocks noGrp="1"/>
          </p:cNvSpPr>
          <p:nvPr>
            <p:ph type="pic" sz="quarter" idx="22"/>
          </p:nvPr>
        </p:nvSpPr>
        <p:spPr>
          <a:xfrm>
            <a:off x="720725" y="4670239"/>
            <a:ext cx="3137122" cy="2110753"/>
          </a:xfrm>
        </p:spPr>
        <p:txBody>
          <a:bodyPr/>
          <a:lstStyle/>
          <a:p>
            <a:endParaRPr lang="en-US" dirty="0"/>
          </a:p>
        </p:txBody>
      </p:sp>
      <p:sp>
        <p:nvSpPr>
          <p:cNvPr id="28" name="Picture Placeholder 3">
            <a:extLst>
              <a:ext uri="{FF2B5EF4-FFF2-40B4-BE49-F238E27FC236}">
                <a16:creationId xmlns:a16="http://schemas.microsoft.com/office/drawing/2014/main" id="{B8565162-7ED6-E642-A009-7342765D75A6}"/>
              </a:ext>
            </a:extLst>
          </p:cNvPr>
          <p:cNvSpPr>
            <a:spLocks noGrp="1"/>
          </p:cNvSpPr>
          <p:nvPr>
            <p:ph type="pic" sz="quarter" idx="23"/>
          </p:nvPr>
        </p:nvSpPr>
        <p:spPr>
          <a:xfrm>
            <a:off x="4062287" y="4667176"/>
            <a:ext cx="3137122" cy="2110753"/>
          </a:xfrm>
        </p:spPr>
        <p:txBody>
          <a:bodyPr/>
          <a:lstStyle/>
          <a:p>
            <a:endParaRPr lang="en-US" dirty="0"/>
          </a:p>
        </p:txBody>
      </p:sp>
      <p:sp>
        <p:nvSpPr>
          <p:cNvPr id="29" name="Picture Placeholder 3">
            <a:extLst>
              <a:ext uri="{FF2B5EF4-FFF2-40B4-BE49-F238E27FC236}">
                <a16:creationId xmlns:a16="http://schemas.microsoft.com/office/drawing/2014/main" id="{153E5BF5-B7A2-1D46-95D7-2976989CC526}"/>
              </a:ext>
            </a:extLst>
          </p:cNvPr>
          <p:cNvSpPr>
            <a:spLocks noGrp="1"/>
          </p:cNvSpPr>
          <p:nvPr>
            <p:ph type="pic" sz="quarter" idx="24"/>
          </p:nvPr>
        </p:nvSpPr>
        <p:spPr>
          <a:xfrm>
            <a:off x="7403849" y="4674832"/>
            <a:ext cx="3137122" cy="2110753"/>
          </a:xfrm>
        </p:spPr>
        <p:txBody>
          <a:bodyPr/>
          <a:lstStyle/>
          <a:p>
            <a:endParaRPr lang="en-US" dirty="0"/>
          </a:p>
        </p:txBody>
      </p:sp>
      <p:sp>
        <p:nvSpPr>
          <p:cNvPr id="30" name="Picture Placeholder 3">
            <a:extLst>
              <a:ext uri="{FF2B5EF4-FFF2-40B4-BE49-F238E27FC236}">
                <a16:creationId xmlns:a16="http://schemas.microsoft.com/office/drawing/2014/main" id="{7BBC3411-5FF9-D847-BF6A-7429591D9CCC}"/>
              </a:ext>
            </a:extLst>
          </p:cNvPr>
          <p:cNvSpPr>
            <a:spLocks noGrp="1"/>
          </p:cNvSpPr>
          <p:nvPr>
            <p:ph type="pic" sz="quarter" idx="25"/>
          </p:nvPr>
        </p:nvSpPr>
        <p:spPr>
          <a:xfrm>
            <a:off x="10745412" y="4686118"/>
            <a:ext cx="3137122" cy="2110753"/>
          </a:xfrm>
        </p:spPr>
        <p:txBody>
          <a:bodyPr/>
          <a:lstStyle/>
          <a:p>
            <a:endParaRPr lang="en-US" dirty="0"/>
          </a:p>
        </p:txBody>
      </p:sp>
    </p:spTree>
    <p:extLst>
      <p:ext uri="{BB962C8B-B14F-4D97-AF65-F5344CB8AC3E}">
        <p14:creationId xmlns:p14="http://schemas.microsoft.com/office/powerpoint/2010/main" val="1351427662"/>
      </p:ext>
    </p:extLst>
  </p:cSld>
  <p:clrMapOvr>
    <a:masterClrMapping/>
  </p:clrMapOvr>
  <p:transition>
    <p:fade/>
  </p:transition>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sp>
        <p:nvSpPr>
          <p:cNvPr id="5" name="Text Placeholder 4"/>
          <p:cNvSpPr>
            <a:spLocks noGrp="1"/>
          </p:cNvSpPr>
          <p:nvPr>
            <p:ph type="body" sz="quarter" idx="10"/>
          </p:nvPr>
        </p:nvSpPr>
        <p:spPr>
          <a:xfrm>
            <a:off x="726441" y="2106614"/>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6" name="Text Placeholder 3">
            <a:extLst>
              <a:ext uri="{FF2B5EF4-FFF2-40B4-BE49-F238E27FC236}">
                <a16:creationId xmlns:a16="http://schemas.microsoft.com/office/drawing/2014/main" id="{9F517C4F-52C8-004C-AEB3-B965686EAAA9}"/>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399033505"/>
      </p:ext>
    </p:extLst>
  </p:cSld>
  <p:clrMapOvr>
    <a:masterClrMapping/>
  </p:clrMapOvr>
  <p:transition>
    <p:fade/>
  </p:transition>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100" baseline="0"/>
            </a:lvl1pPr>
          </a:lstStyle>
          <a:p>
            <a:r>
              <a:rPr lang="en-US"/>
              <a:t>Click to edit Master title style</a:t>
            </a:r>
          </a:p>
        </p:txBody>
      </p:sp>
      <p:graphicFrame>
        <p:nvGraphicFramePr>
          <p:cNvPr id="33" name="Chart 32">
            <a:extLst>
              <a:ext uri="{FF2B5EF4-FFF2-40B4-BE49-F238E27FC236}">
                <a16:creationId xmlns:a16="http://schemas.microsoft.com/office/drawing/2014/main" id="{D025E7FA-298A-CD45-B1DA-D620F2482A58}"/>
              </a:ext>
            </a:extLst>
          </p:cNvPr>
          <p:cNvGraphicFramePr/>
          <p:nvPr userDrawn="1"/>
        </p:nvGraphicFramePr>
        <p:xfrm>
          <a:off x="15557874" y="4888978"/>
          <a:ext cx="3678955" cy="1989156"/>
        </p:xfrm>
        <a:graphic>
          <a:graphicData uri="http://schemas.openxmlformats.org/drawingml/2006/chart">
            <c:chart xmlns:c="http://schemas.openxmlformats.org/drawingml/2006/chart" xmlns:r="http://schemas.openxmlformats.org/officeDocument/2006/relationships" r:id="rId2"/>
          </a:graphicData>
        </a:graphic>
      </p:graphicFrame>
      <p:sp>
        <p:nvSpPr>
          <p:cNvPr id="37" name="Slide Number Placeholder 5">
            <a:extLst>
              <a:ext uri="{FF2B5EF4-FFF2-40B4-BE49-F238E27FC236}">
                <a16:creationId xmlns:a16="http://schemas.microsoft.com/office/drawing/2014/main" id="{29B4D95D-D7E1-344B-B5F5-F2BE79D2A182}"/>
              </a:ext>
            </a:extLst>
          </p:cNvPr>
          <p:cNvSpPr txBox="1">
            <a:spLocks/>
          </p:cNvSpPr>
          <p:nvPr userDrawn="1"/>
        </p:nvSpPr>
        <p:spPr>
          <a:xfrm>
            <a:off x="29834492" y="7709740"/>
            <a:ext cx="455614" cy="400050"/>
          </a:xfrm>
          <a:prstGeom prst="rect">
            <a:avLst/>
          </a:prstGeom>
        </p:spPr>
        <p:txBody>
          <a:bodyPr vert="horz" lIns="91440" tIns="45720" rIns="91440" bIns="45720" rtlCol="0" anchor="ctr"/>
          <a:lstStyle>
            <a:defPPr>
              <a:defRPr lang="en-US"/>
            </a:defPPr>
            <a:lvl1pPr algn="r" defTabSz="730213" rtl="0" fontAlgn="base">
              <a:spcBef>
                <a:spcPct val="50000"/>
              </a:spcBef>
              <a:spcAft>
                <a:spcPct val="0"/>
              </a:spcAft>
              <a:defRPr sz="960" kern="1200">
                <a:solidFill>
                  <a:srgbClr val="FF0000"/>
                </a:solidFill>
                <a:latin typeface="Arial" pitchFamily="-65" charset="0"/>
                <a:ea typeface="Arial Unicode MS" pitchFamily="-65" charset="0"/>
                <a:cs typeface="Arial Unicode MS" pitchFamily="-65" charset="0"/>
              </a:defRPr>
            </a:lvl1pPr>
            <a:lvl2pPr marL="730213" indent="-273036"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2pPr>
            <a:lvl3pPr marL="1462015" indent="-547661"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3pPr>
            <a:lvl4pPr marL="2193816" indent="-822285"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4pPr>
            <a:lvl5pPr marL="2925617" indent="-1096908" algn="l" defTabSz="730213" rtl="0" fontAlgn="base">
              <a:spcBef>
                <a:spcPct val="50000"/>
              </a:spcBef>
              <a:spcAft>
                <a:spcPct val="0"/>
              </a:spcAft>
              <a:defRPr sz="3000" kern="1200">
                <a:solidFill>
                  <a:schemeClr val="tx1"/>
                </a:solidFill>
                <a:latin typeface="Arial" pitchFamily="-65" charset="0"/>
                <a:ea typeface="Arial Unicode MS" pitchFamily="-65" charset="0"/>
                <a:cs typeface="Arial Unicode MS" pitchFamily="-65" charset="0"/>
              </a:defRPr>
            </a:lvl5pPr>
            <a:lvl6pPr marL="2285886"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6pPr>
            <a:lvl7pPr marL="2743063"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7pPr>
            <a:lvl8pPr marL="3200240"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8pPr>
            <a:lvl9pPr marL="3657417" algn="l" defTabSz="457177" rtl="0" eaLnBrk="1" latinLnBrk="0" hangingPunct="1">
              <a:defRPr sz="3000" kern="1200">
                <a:solidFill>
                  <a:schemeClr val="tx1"/>
                </a:solidFill>
                <a:latin typeface="Arial" pitchFamily="-65" charset="0"/>
                <a:ea typeface="Arial Unicode MS" pitchFamily="-65" charset="0"/>
                <a:cs typeface="Arial Unicode MS" pitchFamily="-65" charset="0"/>
              </a:defRPr>
            </a:lvl9pPr>
          </a:lstStyle>
          <a:p>
            <a:fld id="{AD816501-AAE5-214E-B100-00C3DC5F5E3F}" type="slidenum">
              <a:rPr lang="en-US" sz="960" smtClean="0">
                <a:solidFill>
                  <a:srgbClr val="C8102E"/>
                </a:solidFill>
              </a:rPr>
              <a:pPr/>
              <a:t>‹#›</a:t>
            </a:fld>
            <a:endParaRPr lang="en-US" sz="960" dirty="0">
              <a:solidFill>
                <a:srgbClr val="C8102E"/>
              </a:solidFill>
            </a:endParaRPr>
          </a:p>
        </p:txBody>
      </p:sp>
      <p:sp>
        <p:nvSpPr>
          <p:cNvPr id="125" name="Text Placeholder 3">
            <a:extLst>
              <a:ext uri="{FF2B5EF4-FFF2-40B4-BE49-F238E27FC236}">
                <a16:creationId xmlns:a16="http://schemas.microsoft.com/office/drawing/2014/main" id="{2370FFBE-37A2-9640-8C17-39BD2F6534B6}"/>
              </a:ext>
            </a:extLst>
          </p:cNvPr>
          <p:cNvSpPr>
            <a:spLocks noGrp="1"/>
          </p:cNvSpPr>
          <p:nvPr>
            <p:ph type="body" sz="quarter" idx="22"/>
          </p:nvPr>
        </p:nvSpPr>
        <p:spPr>
          <a:xfrm>
            <a:off x="702750" y="1687959"/>
            <a:ext cx="2982913" cy="445388"/>
          </a:xfrm>
        </p:spPr>
        <p:txBody>
          <a:bodyPr/>
          <a:lstStyle>
            <a:lvl1pPr marL="0" indent="0">
              <a:buNone/>
              <a:defRPr sz="2400" b="1"/>
            </a:lvl1pPr>
          </a:lstStyle>
          <a:p>
            <a:pPr lvl="0"/>
            <a:r>
              <a:rPr lang="en-US"/>
              <a:t>Click to edit</a:t>
            </a:r>
          </a:p>
        </p:txBody>
      </p:sp>
      <p:sp>
        <p:nvSpPr>
          <p:cNvPr id="126" name="Text Placeholder 3">
            <a:extLst>
              <a:ext uri="{FF2B5EF4-FFF2-40B4-BE49-F238E27FC236}">
                <a16:creationId xmlns:a16="http://schemas.microsoft.com/office/drawing/2014/main" id="{F379177C-F1E5-E449-AB33-128B2D474506}"/>
              </a:ext>
            </a:extLst>
          </p:cNvPr>
          <p:cNvSpPr>
            <a:spLocks noGrp="1"/>
          </p:cNvSpPr>
          <p:nvPr>
            <p:ph type="body" sz="quarter" idx="23"/>
          </p:nvPr>
        </p:nvSpPr>
        <p:spPr>
          <a:xfrm>
            <a:off x="7702232" y="1687960"/>
            <a:ext cx="2982913" cy="434094"/>
          </a:xfrm>
        </p:spPr>
        <p:txBody>
          <a:bodyPr/>
          <a:lstStyle>
            <a:lvl1pPr marL="0" indent="0">
              <a:buNone/>
              <a:defRPr sz="2400" b="1"/>
            </a:lvl1pPr>
          </a:lstStyle>
          <a:p>
            <a:pPr lvl="0"/>
            <a:r>
              <a:rPr lang="en-US"/>
              <a:t>Click to edit</a:t>
            </a:r>
          </a:p>
        </p:txBody>
      </p:sp>
      <p:sp>
        <p:nvSpPr>
          <p:cNvPr id="127" name="Text Placeholder 3">
            <a:extLst>
              <a:ext uri="{FF2B5EF4-FFF2-40B4-BE49-F238E27FC236}">
                <a16:creationId xmlns:a16="http://schemas.microsoft.com/office/drawing/2014/main" id="{16E05738-1488-2C4B-8A43-8A38F6F540A1}"/>
              </a:ext>
            </a:extLst>
          </p:cNvPr>
          <p:cNvSpPr>
            <a:spLocks noGrp="1"/>
          </p:cNvSpPr>
          <p:nvPr>
            <p:ph type="body" sz="quarter" idx="24"/>
          </p:nvPr>
        </p:nvSpPr>
        <p:spPr>
          <a:xfrm>
            <a:off x="702748" y="2192061"/>
            <a:ext cx="6171296" cy="667748"/>
          </a:xfrm>
        </p:spPr>
        <p:txBody>
          <a:bodyPr/>
          <a:lstStyle>
            <a:lvl1pPr marL="0" indent="0">
              <a:buNone/>
              <a:defRPr sz="1800" b="0"/>
            </a:lvl1pPr>
          </a:lstStyle>
          <a:p>
            <a:pPr lvl="0"/>
            <a:r>
              <a:rPr lang="en-US"/>
              <a:t>Click to edit</a:t>
            </a:r>
          </a:p>
        </p:txBody>
      </p:sp>
      <p:sp>
        <p:nvSpPr>
          <p:cNvPr id="128" name="Text Placeholder 3">
            <a:extLst>
              <a:ext uri="{FF2B5EF4-FFF2-40B4-BE49-F238E27FC236}">
                <a16:creationId xmlns:a16="http://schemas.microsoft.com/office/drawing/2014/main" id="{E8025EBA-5D54-9D4D-A468-CDB58384101B}"/>
              </a:ext>
            </a:extLst>
          </p:cNvPr>
          <p:cNvSpPr>
            <a:spLocks noGrp="1"/>
          </p:cNvSpPr>
          <p:nvPr>
            <p:ph type="body" sz="quarter" idx="25"/>
          </p:nvPr>
        </p:nvSpPr>
        <p:spPr>
          <a:xfrm>
            <a:off x="7702232" y="2192061"/>
            <a:ext cx="6171289" cy="667748"/>
          </a:xfrm>
        </p:spPr>
        <p:txBody>
          <a:bodyPr/>
          <a:lstStyle>
            <a:lvl1pPr marL="0" indent="0">
              <a:buNone/>
              <a:defRPr sz="1800" b="0"/>
            </a:lvl1pPr>
          </a:lstStyle>
          <a:p>
            <a:pPr lvl="0"/>
            <a:r>
              <a:rPr lang="en-US"/>
              <a:t>Click to edit</a:t>
            </a:r>
          </a:p>
        </p:txBody>
      </p:sp>
      <p:sp>
        <p:nvSpPr>
          <p:cNvPr id="129" name="Text Placeholder 3">
            <a:extLst>
              <a:ext uri="{FF2B5EF4-FFF2-40B4-BE49-F238E27FC236}">
                <a16:creationId xmlns:a16="http://schemas.microsoft.com/office/drawing/2014/main" id="{A8421254-0C37-1340-A955-658F91F3D6CF}"/>
              </a:ext>
            </a:extLst>
          </p:cNvPr>
          <p:cNvSpPr>
            <a:spLocks noGrp="1"/>
          </p:cNvSpPr>
          <p:nvPr>
            <p:ph type="body" sz="quarter" idx="26"/>
          </p:nvPr>
        </p:nvSpPr>
        <p:spPr>
          <a:xfrm>
            <a:off x="7702232" y="3732103"/>
            <a:ext cx="6171289" cy="667748"/>
          </a:xfrm>
        </p:spPr>
        <p:txBody>
          <a:bodyPr/>
          <a:lstStyle>
            <a:lvl1pPr marL="0" indent="0">
              <a:buNone/>
              <a:defRPr sz="1800" b="0"/>
            </a:lvl1pPr>
          </a:lstStyle>
          <a:p>
            <a:pPr lvl="0"/>
            <a:r>
              <a:rPr lang="en-US"/>
              <a:t>Click to edit</a:t>
            </a:r>
          </a:p>
        </p:txBody>
      </p:sp>
      <p:sp>
        <p:nvSpPr>
          <p:cNvPr id="130" name="Text Placeholder 3">
            <a:extLst>
              <a:ext uri="{FF2B5EF4-FFF2-40B4-BE49-F238E27FC236}">
                <a16:creationId xmlns:a16="http://schemas.microsoft.com/office/drawing/2014/main" id="{B6CFDC65-8D2B-1B44-AF80-E7289A82E8B0}"/>
              </a:ext>
            </a:extLst>
          </p:cNvPr>
          <p:cNvSpPr>
            <a:spLocks noGrp="1"/>
          </p:cNvSpPr>
          <p:nvPr>
            <p:ph type="body" sz="quarter" idx="27"/>
          </p:nvPr>
        </p:nvSpPr>
        <p:spPr>
          <a:xfrm>
            <a:off x="702748" y="3756165"/>
            <a:ext cx="6171296" cy="667748"/>
          </a:xfrm>
        </p:spPr>
        <p:txBody>
          <a:bodyPr/>
          <a:lstStyle>
            <a:lvl1pPr marL="0" indent="0">
              <a:buNone/>
              <a:defRPr sz="1800" b="0"/>
            </a:lvl1pPr>
          </a:lstStyle>
          <a:p>
            <a:pPr lvl="0"/>
            <a:r>
              <a:rPr lang="en-US"/>
              <a:t>Click to edit</a:t>
            </a:r>
          </a:p>
        </p:txBody>
      </p:sp>
      <p:sp>
        <p:nvSpPr>
          <p:cNvPr id="131" name="Text Placeholder 3">
            <a:extLst>
              <a:ext uri="{FF2B5EF4-FFF2-40B4-BE49-F238E27FC236}">
                <a16:creationId xmlns:a16="http://schemas.microsoft.com/office/drawing/2014/main" id="{F7EA9FAB-CB05-354A-92B0-151C3E246E00}"/>
              </a:ext>
            </a:extLst>
          </p:cNvPr>
          <p:cNvSpPr>
            <a:spLocks noGrp="1"/>
          </p:cNvSpPr>
          <p:nvPr>
            <p:ph type="body" sz="quarter" idx="28"/>
          </p:nvPr>
        </p:nvSpPr>
        <p:spPr>
          <a:xfrm>
            <a:off x="702750" y="3107685"/>
            <a:ext cx="2982913" cy="623563"/>
          </a:xfrm>
        </p:spPr>
        <p:txBody>
          <a:bodyPr/>
          <a:lstStyle>
            <a:lvl1pPr marL="0" indent="0">
              <a:buNone/>
              <a:defRPr sz="3600" b="1">
                <a:solidFill>
                  <a:srgbClr val="C8102E"/>
                </a:solidFill>
              </a:defRPr>
            </a:lvl1pPr>
          </a:lstStyle>
          <a:p>
            <a:pPr lvl="0"/>
            <a:r>
              <a:rPr lang="en-US"/>
              <a:t>Click to edit</a:t>
            </a:r>
          </a:p>
        </p:txBody>
      </p:sp>
      <p:sp>
        <p:nvSpPr>
          <p:cNvPr id="132" name="Text Placeholder 3">
            <a:extLst>
              <a:ext uri="{FF2B5EF4-FFF2-40B4-BE49-F238E27FC236}">
                <a16:creationId xmlns:a16="http://schemas.microsoft.com/office/drawing/2014/main" id="{645A9CA8-A3F7-B042-94B5-20E5D5443E68}"/>
              </a:ext>
            </a:extLst>
          </p:cNvPr>
          <p:cNvSpPr>
            <a:spLocks noGrp="1"/>
          </p:cNvSpPr>
          <p:nvPr>
            <p:ph type="body" sz="quarter" idx="29"/>
          </p:nvPr>
        </p:nvSpPr>
        <p:spPr>
          <a:xfrm>
            <a:off x="7704709" y="3107685"/>
            <a:ext cx="2982913" cy="623563"/>
          </a:xfrm>
        </p:spPr>
        <p:txBody>
          <a:bodyPr/>
          <a:lstStyle>
            <a:lvl1pPr marL="0" indent="0">
              <a:buNone/>
              <a:defRPr sz="3600" b="1">
                <a:solidFill>
                  <a:srgbClr val="000099"/>
                </a:solidFill>
              </a:defRPr>
            </a:lvl1pPr>
          </a:lstStyle>
          <a:p>
            <a:pPr lvl="0"/>
            <a:r>
              <a:rPr lang="en-US"/>
              <a:t>Click to edit</a:t>
            </a:r>
          </a:p>
        </p:txBody>
      </p:sp>
      <p:sp>
        <p:nvSpPr>
          <p:cNvPr id="133" name="Text Placeholder 3">
            <a:extLst>
              <a:ext uri="{FF2B5EF4-FFF2-40B4-BE49-F238E27FC236}">
                <a16:creationId xmlns:a16="http://schemas.microsoft.com/office/drawing/2014/main" id="{FA6865A7-8B86-CC46-8E6C-77BFB9DA56F4}"/>
              </a:ext>
            </a:extLst>
          </p:cNvPr>
          <p:cNvSpPr>
            <a:spLocks noGrp="1"/>
          </p:cNvSpPr>
          <p:nvPr>
            <p:ph type="body" sz="quarter" idx="30"/>
          </p:nvPr>
        </p:nvSpPr>
        <p:spPr>
          <a:xfrm>
            <a:off x="4461003" y="4747881"/>
            <a:ext cx="2565442" cy="478186"/>
          </a:xfrm>
        </p:spPr>
        <p:txBody>
          <a:bodyPr/>
          <a:lstStyle>
            <a:lvl1pPr marL="0" indent="0">
              <a:buNone/>
              <a:defRPr sz="2400" b="1"/>
            </a:lvl1pPr>
          </a:lstStyle>
          <a:p>
            <a:pPr lvl="0"/>
            <a:r>
              <a:rPr lang="en-US"/>
              <a:t>Click to edit</a:t>
            </a:r>
          </a:p>
        </p:txBody>
      </p:sp>
      <p:sp>
        <p:nvSpPr>
          <p:cNvPr id="134" name="Text Placeholder 3">
            <a:extLst>
              <a:ext uri="{FF2B5EF4-FFF2-40B4-BE49-F238E27FC236}">
                <a16:creationId xmlns:a16="http://schemas.microsoft.com/office/drawing/2014/main" id="{0A2E19B2-26BC-E24B-B176-0B3724CED714}"/>
              </a:ext>
            </a:extLst>
          </p:cNvPr>
          <p:cNvSpPr>
            <a:spLocks noGrp="1"/>
          </p:cNvSpPr>
          <p:nvPr>
            <p:ph type="body" sz="quarter" idx="31"/>
          </p:nvPr>
        </p:nvSpPr>
        <p:spPr>
          <a:xfrm>
            <a:off x="11358521" y="4747881"/>
            <a:ext cx="2565442" cy="478186"/>
          </a:xfrm>
        </p:spPr>
        <p:txBody>
          <a:bodyPr/>
          <a:lstStyle>
            <a:lvl1pPr marL="0" indent="0">
              <a:buNone/>
              <a:defRPr sz="2400" b="1"/>
            </a:lvl1pPr>
          </a:lstStyle>
          <a:p>
            <a:pPr lvl="0"/>
            <a:r>
              <a:rPr lang="en-US"/>
              <a:t>Click to edit</a:t>
            </a:r>
          </a:p>
        </p:txBody>
      </p:sp>
      <p:sp>
        <p:nvSpPr>
          <p:cNvPr id="135" name="Text Placeholder 3">
            <a:extLst>
              <a:ext uri="{FF2B5EF4-FFF2-40B4-BE49-F238E27FC236}">
                <a16:creationId xmlns:a16="http://schemas.microsoft.com/office/drawing/2014/main" id="{ED4F9BBA-DC29-EB43-8720-94418E10EE8F}"/>
              </a:ext>
            </a:extLst>
          </p:cNvPr>
          <p:cNvSpPr>
            <a:spLocks noGrp="1"/>
          </p:cNvSpPr>
          <p:nvPr>
            <p:ph type="body" sz="quarter" idx="32"/>
          </p:nvPr>
        </p:nvSpPr>
        <p:spPr>
          <a:xfrm>
            <a:off x="11358522" y="5378468"/>
            <a:ext cx="2565440" cy="1401834"/>
          </a:xfrm>
        </p:spPr>
        <p:txBody>
          <a:bodyPr/>
          <a:lstStyle>
            <a:lvl1pPr marL="237734" indent="-237734">
              <a:spcBef>
                <a:spcPts val="960"/>
              </a:spcBef>
              <a:buFont typeface="Arial" panose="020B0604020202020204" pitchFamily="34" charset="0"/>
              <a:buChar char="•"/>
              <a:defRPr sz="1800" b="0"/>
            </a:lvl1pPr>
          </a:lstStyle>
          <a:p>
            <a:pPr lvl="0"/>
            <a:r>
              <a:rPr lang="en-US"/>
              <a:t>Click to edit</a:t>
            </a:r>
          </a:p>
        </p:txBody>
      </p:sp>
      <p:sp>
        <p:nvSpPr>
          <p:cNvPr id="136" name="Text Placeholder 3">
            <a:extLst>
              <a:ext uri="{FF2B5EF4-FFF2-40B4-BE49-F238E27FC236}">
                <a16:creationId xmlns:a16="http://schemas.microsoft.com/office/drawing/2014/main" id="{7B8A0F17-F2BD-394C-92FC-2DBDFCA33016}"/>
              </a:ext>
            </a:extLst>
          </p:cNvPr>
          <p:cNvSpPr>
            <a:spLocks noGrp="1"/>
          </p:cNvSpPr>
          <p:nvPr>
            <p:ph type="body" sz="quarter" idx="33"/>
          </p:nvPr>
        </p:nvSpPr>
        <p:spPr>
          <a:xfrm>
            <a:off x="4461004" y="5378468"/>
            <a:ext cx="2565440" cy="1401834"/>
          </a:xfrm>
        </p:spPr>
        <p:txBody>
          <a:bodyPr/>
          <a:lstStyle>
            <a:lvl1pPr marL="237734" indent="-237734">
              <a:spcBef>
                <a:spcPts val="960"/>
              </a:spcBef>
              <a:buFont typeface="Arial" panose="020B0604020202020204" pitchFamily="34" charset="0"/>
              <a:buChar char="•"/>
              <a:defRPr sz="1800" b="0"/>
            </a:lvl1pPr>
          </a:lstStyle>
          <a:p>
            <a:pPr lvl="0"/>
            <a:r>
              <a:rPr lang="en-US"/>
              <a:t>Click to edit</a:t>
            </a:r>
          </a:p>
        </p:txBody>
      </p:sp>
      <p:sp>
        <p:nvSpPr>
          <p:cNvPr id="139" name="Text Placeholder 19">
            <a:extLst>
              <a:ext uri="{FF2B5EF4-FFF2-40B4-BE49-F238E27FC236}">
                <a16:creationId xmlns:a16="http://schemas.microsoft.com/office/drawing/2014/main" id="{AB62CD71-349B-B24A-A648-B473B71EBA08}"/>
              </a:ext>
            </a:extLst>
          </p:cNvPr>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40" name="Text Placeholder 3">
            <a:extLst>
              <a:ext uri="{FF2B5EF4-FFF2-40B4-BE49-F238E27FC236}">
                <a16:creationId xmlns:a16="http://schemas.microsoft.com/office/drawing/2014/main" id="{08B2C4DA-8D4A-044D-A18A-5259A6645CAD}"/>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45" name="Text Placeholder 3">
            <a:extLst>
              <a:ext uri="{FF2B5EF4-FFF2-40B4-BE49-F238E27FC236}">
                <a16:creationId xmlns:a16="http://schemas.microsoft.com/office/drawing/2014/main" id="{69F5B089-344B-D340-86E0-371125C2F054}"/>
              </a:ext>
            </a:extLst>
          </p:cNvPr>
          <p:cNvSpPr>
            <a:spLocks noGrp="1"/>
          </p:cNvSpPr>
          <p:nvPr>
            <p:ph type="body" sz="quarter" idx="34"/>
          </p:nvPr>
        </p:nvSpPr>
        <p:spPr>
          <a:xfrm>
            <a:off x="9395932" y="5378468"/>
            <a:ext cx="1726770" cy="1401834"/>
          </a:xfrm>
        </p:spPr>
        <p:txBody>
          <a:bodyPr/>
          <a:lstStyle>
            <a:lvl1pPr marL="0" indent="0">
              <a:buFont typeface="Arial" panose="020B0604020202020204" pitchFamily="34" charset="0"/>
              <a:buNone/>
              <a:defRPr sz="1800" b="0"/>
            </a:lvl1pPr>
          </a:lstStyle>
          <a:p>
            <a:pPr lvl="0"/>
            <a:r>
              <a:rPr lang="en-US"/>
              <a:t>Click to edit</a:t>
            </a:r>
          </a:p>
        </p:txBody>
      </p:sp>
      <p:sp>
        <p:nvSpPr>
          <p:cNvPr id="147" name="Text Placeholder 3">
            <a:extLst>
              <a:ext uri="{FF2B5EF4-FFF2-40B4-BE49-F238E27FC236}">
                <a16:creationId xmlns:a16="http://schemas.microsoft.com/office/drawing/2014/main" id="{4E273F30-D965-9848-9A7C-C3F20398BD9D}"/>
              </a:ext>
            </a:extLst>
          </p:cNvPr>
          <p:cNvSpPr>
            <a:spLocks noGrp="1"/>
          </p:cNvSpPr>
          <p:nvPr>
            <p:ph type="body" sz="quarter" idx="36" hasCustomPrompt="1"/>
          </p:nvPr>
        </p:nvSpPr>
        <p:spPr>
          <a:xfrm>
            <a:off x="9395934" y="4678451"/>
            <a:ext cx="1726769" cy="623563"/>
          </a:xfrm>
        </p:spPr>
        <p:txBody>
          <a:bodyPr/>
          <a:lstStyle>
            <a:lvl1pPr marL="0" indent="0">
              <a:buNone/>
              <a:defRPr sz="4400" b="1">
                <a:solidFill>
                  <a:srgbClr val="000099"/>
                </a:solidFill>
              </a:defRPr>
            </a:lvl1pPr>
          </a:lstStyle>
          <a:p>
            <a:pPr lvl="0"/>
            <a:r>
              <a:rPr lang="en-US"/>
              <a:t>edit</a:t>
            </a:r>
          </a:p>
        </p:txBody>
      </p:sp>
      <p:sp>
        <p:nvSpPr>
          <p:cNvPr id="25" name="Slide Number Placeholder 5">
            <a:extLst>
              <a:ext uri="{FF2B5EF4-FFF2-40B4-BE49-F238E27FC236}">
                <a16:creationId xmlns:a16="http://schemas.microsoft.com/office/drawing/2014/main" id="{05DEF135-9169-A349-9501-72BA8764E9DA}"/>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
        <p:nvSpPr>
          <p:cNvPr id="24" name="Text Placeholder 3">
            <a:extLst>
              <a:ext uri="{FF2B5EF4-FFF2-40B4-BE49-F238E27FC236}">
                <a16:creationId xmlns:a16="http://schemas.microsoft.com/office/drawing/2014/main" id="{7F9474BB-DCE7-4B4C-AE76-9482A8AE0480}"/>
              </a:ext>
            </a:extLst>
          </p:cNvPr>
          <p:cNvSpPr>
            <a:spLocks noGrp="1"/>
          </p:cNvSpPr>
          <p:nvPr>
            <p:ph type="body" sz="quarter" idx="37"/>
          </p:nvPr>
        </p:nvSpPr>
        <p:spPr>
          <a:xfrm>
            <a:off x="2560418" y="5378468"/>
            <a:ext cx="1694747" cy="1401834"/>
          </a:xfrm>
        </p:spPr>
        <p:txBody>
          <a:bodyPr/>
          <a:lstStyle>
            <a:lvl1pPr marL="0" indent="0">
              <a:buFont typeface="Arial" panose="020B0604020202020204" pitchFamily="34" charset="0"/>
              <a:buNone/>
              <a:defRPr sz="1800" b="0"/>
            </a:lvl1pPr>
          </a:lstStyle>
          <a:p>
            <a:pPr lvl="0"/>
            <a:r>
              <a:rPr lang="en-US"/>
              <a:t>Click to edit</a:t>
            </a:r>
          </a:p>
        </p:txBody>
      </p:sp>
      <p:sp>
        <p:nvSpPr>
          <p:cNvPr id="26" name="Text Placeholder 3">
            <a:extLst>
              <a:ext uri="{FF2B5EF4-FFF2-40B4-BE49-F238E27FC236}">
                <a16:creationId xmlns:a16="http://schemas.microsoft.com/office/drawing/2014/main" id="{D197E88C-0BB2-C64B-90C6-7FEB4CEAAAA6}"/>
              </a:ext>
            </a:extLst>
          </p:cNvPr>
          <p:cNvSpPr>
            <a:spLocks noGrp="1"/>
          </p:cNvSpPr>
          <p:nvPr>
            <p:ph type="body" sz="quarter" idx="38" hasCustomPrompt="1"/>
          </p:nvPr>
        </p:nvSpPr>
        <p:spPr>
          <a:xfrm>
            <a:off x="2560419" y="4678451"/>
            <a:ext cx="1694746" cy="623563"/>
          </a:xfrm>
        </p:spPr>
        <p:txBody>
          <a:bodyPr/>
          <a:lstStyle>
            <a:lvl1pPr marL="0" indent="0">
              <a:buNone/>
              <a:defRPr sz="4400" b="1">
                <a:solidFill>
                  <a:srgbClr val="C8102E"/>
                </a:solidFill>
              </a:defRPr>
            </a:lvl1pPr>
          </a:lstStyle>
          <a:p>
            <a:pPr lvl="0"/>
            <a:r>
              <a:rPr lang="en-US"/>
              <a:t>edit</a:t>
            </a:r>
          </a:p>
        </p:txBody>
      </p:sp>
    </p:spTree>
    <p:extLst>
      <p:ext uri="{BB962C8B-B14F-4D97-AF65-F5344CB8AC3E}">
        <p14:creationId xmlns:p14="http://schemas.microsoft.com/office/powerpoint/2010/main" val="2153310299"/>
      </p:ext>
    </p:extLst>
  </p:cSld>
  <p:clrMapOvr>
    <a:masterClrMapping/>
  </p:clrMapOvr>
  <p:transition>
    <p:fade/>
  </p:transition>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726441" y="2055815"/>
            <a:ext cx="13177520" cy="5003292"/>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18"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7" name="Text Placeholder 3">
            <a:extLst>
              <a:ext uri="{FF2B5EF4-FFF2-40B4-BE49-F238E27FC236}">
                <a16:creationId xmlns:a16="http://schemas.microsoft.com/office/drawing/2014/main" id="{7EBCD416-E180-4844-AE7C-E86754B55E25}"/>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chemeClr val="accent1"/>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634468947"/>
      </p:ext>
    </p:extLst>
  </p:cSld>
  <p:clrMapOvr>
    <a:masterClrMapping/>
  </p:clrMapOvr>
  <p:transition>
    <p:fade/>
  </p:transition>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055814"/>
            <a:ext cx="13177520" cy="54661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3500"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9" name="Text Placeholder 8"/>
          <p:cNvSpPr>
            <a:spLocks noGrp="1"/>
          </p:cNvSpPr>
          <p:nvPr>
            <p:ph type="body" sz="quarter" idx="11"/>
          </p:nvPr>
        </p:nvSpPr>
        <p:spPr>
          <a:xfrm>
            <a:off x="726441" y="2912748"/>
            <a:ext cx="13177520" cy="4146358"/>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7"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C43E0D67-8D13-E647-B59C-D9F54B974EBC}"/>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416429412"/>
      </p:ext>
    </p:extLst>
  </p:cSld>
  <p:clrMapOvr>
    <a:masterClrMapping/>
  </p:clrMapOvr>
  <p:transition>
    <p:fade/>
  </p:transition>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26441" y="2394475"/>
            <a:ext cx="13177520" cy="36933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4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4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216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216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3" name="Text Placeholder 19"/>
          <p:cNvSpPr>
            <a:spLocks noGrp="1"/>
          </p:cNvSpPr>
          <p:nvPr>
            <p:ph type="body" sz="quarter" idx="16" hasCustomPrompt="1"/>
          </p:nvPr>
        </p:nvSpPr>
        <p:spPr>
          <a:xfrm>
            <a:off x="721361" y="7305371"/>
            <a:ext cx="13182600" cy="191116"/>
          </a:xfrm>
        </p:spPr>
        <p:txBody>
          <a:bodyPr anchor="ctr"/>
          <a:lstStyle>
            <a:lvl1pPr marL="0" indent="0">
              <a:buNone/>
              <a:defRPr sz="1200" baseline="0"/>
            </a:lvl1pPr>
            <a:lvl2pPr marL="260593" indent="0">
              <a:buNone/>
              <a:defRPr sz="1200"/>
            </a:lvl2pPr>
            <a:lvl3pPr marL="636396" indent="0">
              <a:buNone/>
              <a:defRPr sz="1200"/>
            </a:lvl3pPr>
            <a:lvl4pPr marL="1075291" indent="0">
              <a:buNone/>
              <a:defRPr sz="1200"/>
            </a:lvl4pPr>
            <a:lvl5pPr marL="1556132" indent="0">
              <a:buNone/>
              <a:defRPr sz="1200"/>
            </a:lvl5pPr>
          </a:lstStyle>
          <a:p>
            <a:r>
              <a:rPr lang="en-US" sz="1200">
                <a:solidFill>
                  <a:srgbClr val="595959"/>
                </a:solidFill>
              </a:rPr>
              <a:t>Click to add footnote</a:t>
            </a:r>
          </a:p>
        </p:txBody>
      </p:sp>
      <p:sp>
        <p:nvSpPr>
          <p:cNvPr id="15" name="Title 1"/>
          <p:cNvSpPr>
            <a:spLocks noGrp="1"/>
          </p:cNvSpPr>
          <p:nvPr>
            <p:ph type="title"/>
          </p:nvPr>
        </p:nvSpPr>
        <p:spPr>
          <a:xfrm>
            <a:off x="726441" y="454150"/>
            <a:ext cx="13177520" cy="692497"/>
          </a:xfrm>
        </p:spPr>
        <p:txBody>
          <a:bodyPr/>
          <a:lstStyle>
            <a:lvl1pPr>
              <a:defRPr kern="1500" spc="-100" baseline="0">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726441" y="1222847"/>
            <a:ext cx="13177520" cy="461665"/>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3000" dirty="0">
                <a:solidFill>
                  <a:srgbClr val="595959"/>
                </a:solidFill>
                <a:latin typeface="+mn-lt"/>
                <a:ea typeface="Arial Unicode MS" pitchFamily="-65" charset="0"/>
                <a:cs typeface="Arial Unicode MS" pitchFamily="-65" charset="0"/>
                <a:sym typeface="Arial" pitchFamily="-65" charset="0"/>
              </a:defRPr>
            </a:lvl1pPr>
            <a:lvl2pPr>
              <a:defRPr sz="2520"/>
            </a:lvl2pPr>
            <a:lvl3pPr>
              <a:defRPr sz="2520"/>
            </a:lvl3pPr>
            <a:lvl4pPr>
              <a:defRPr sz="2520"/>
            </a:lvl4pPr>
            <a:lvl5pPr>
              <a:defRPr sz="2520"/>
            </a:lvl5pPr>
          </a:lstStyle>
          <a:p>
            <a:pPr marL="0" lvl="0" indent="0" algn="l" rtl="0" eaLnBrk="0" fontAlgn="base" hangingPunct="0">
              <a:spcBef>
                <a:spcPts val="2520"/>
              </a:spcBef>
              <a:spcAft>
                <a:spcPct val="0"/>
              </a:spcAft>
              <a:buClr>
                <a:schemeClr val="tx1"/>
              </a:buClr>
              <a:buSzPct val="100000"/>
              <a:buFont typeface="Arial" pitchFamily="-65" charset="0"/>
              <a:buNone/>
            </a:pPr>
            <a:r>
              <a:rPr lang="en-US"/>
              <a:t>Edit Master text styles</a:t>
            </a:r>
          </a:p>
        </p:txBody>
      </p:sp>
      <p:sp>
        <p:nvSpPr>
          <p:cNvPr id="7" name="Text Placeholder 3">
            <a:extLst>
              <a:ext uri="{FF2B5EF4-FFF2-40B4-BE49-F238E27FC236}">
                <a16:creationId xmlns:a16="http://schemas.microsoft.com/office/drawing/2014/main" id="{D0A5A7B7-A1D0-FE41-896A-B621B4C61E68}"/>
              </a:ext>
            </a:extLst>
          </p:cNvPr>
          <p:cNvSpPr>
            <a:spLocks noGrp="1"/>
          </p:cNvSpPr>
          <p:nvPr>
            <p:ph type="body" sz="quarter" idx="17" hasCustomPrompt="1"/>
          </p:nvPr>
        </p:nvSpPr>
        <p:spPr>
          <a:xfrm>
            <a:off x="7976383" y="7688965"/>
            <a:ext cx="5823659" cy="308708"/>
          </a:xfrm>
        </p:spPr>
        <p:txBody>
          <a:bodyPr/>
          <a:lstStyle>
            <a:lvl1pPr marL="0" indent="0" algn="r">
              <a:buNone/>
              <a:defRPr sz="900" b="1"/>
            </a:lvl1pPr>
          </a:lstStyle>
          <a:p>
            <a:pPr lvl="0"/>
            <a:r>
              <a:rPr lang="en-US"/>
              <a:t>SUPPLY CHAIN</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3968851" y="7557340"/>
            <a:ext cx="455614"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1688283184"/>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9" Type="http://schemas.openxmlformats.org/officeDocument/2006/relationships/slideLayout" Target="../slideLayouts/slideLayout268.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42" Type="http://schemas.openxmlformats.org/officeDocument/2006/relationships/slideLayout" Target="../slideLayouts/slideLayout271.xml"/><Relationship Id="rId47" Type="http://schemas.openxmlformats.org/officeDocument/2006/relationships/slideLayout" Target="../slideLayouts/slideLayout276.xml"/><Relationship Id="rId50" Type="http://schemas.openxmlformats.org/officeDocument/2006/relationships/slideLayout" Target="../slideLayouts/slideLayout279.xml"/><Relationship Id="rId55" Type="http://schemas.openxmlformats.org/officeDocument/2006/relationships/slideLayout" Target="../slideLayouts/slideLayout284.xml"/><Relationship Id="rId7" Type="http://schemas.openxmlformats.org/officeDocument/2006/relationships/slideLayout" Target="../slideLayouts/slideLayout23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9" Type="http://schemas.openxmlformats.org/officeDocument/2006/relationships/slideLayout" Target="../slideLayouts/slideLayout258.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40" Type="http://schemas.openxmlformats.org/officeDocument/2006/relationships/slideLayout" Target="../slideLayouts/slideLayout269.xml"/><Relationship Id="rId45" Type="http://schemas.openxmlformats.org/officeDocument/2006/relationships/slideLayout" Target="../slideLayouts/slideLayout274.xml"/><Relationship Id="rId53" Type="http://schemas.openxmlformats.org/officeDocument/2006/relationships/slideLayout" Target="../slideLayouts/slideLayout282.xml"/><Relationship Id="rId5" Type="http://schemas.openxmlformats.org/officeDocument/2006/relationships/slideLayout" Target="../slideLayouts/slideLayout234.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4" Type="http://schemas.openxmlformats.org/officeDocument/2006/relationships/slideLayout" Target="../slideLayouts/slideLayout273.xml"/><Relationship Id="rId52" Type="http://schemas.openxmlformats.org/officeDocument/2006/relationships/slideLayout" Target="../slideLayouts/slideLayout281.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slideLayout" Target="../slideLayouts/slideLayout272.xml"/><Relationship Id="rId48" Type="http://schemas.openxmlformats.org/officeDocument/2006/relationships/slideLayout" Target="../slideLayouts/slideLayout277.xml"/><Relationship Id="rId56" Type="http://schemas.openxmlformats.org/officeDocument/2006/relationships/theme" Target="../theme/theme10.xml"/><Relationship Id="rId8" Type="http://schemas.openxmlformats.org/officeDocument/2006/relationships/slideLayout" Target="../slideLayouts/slideLayout237.xml"/><Relationship Id="rId51" Type="http://schemas.openxmlformats.org/officeDocument/2006/relationships/slideLayout" Target="../slideLayouts/slideLayout280.xml"/><Relationship Id="rId3" Type="http://schemas.openxmlformats.org/officeDocument/2006/relationships/slideLayout" Target="../slideLayouts/slideLayout232.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46" Type="http://schemas.openxmlformats.org/officeDocument/2006/relationships/slideLayout" Target="../slideLayouts/slideLayout275.xml"/><Relationship Id="rId20" Type="http://schemas.openxmlformats.org/officeDocument/2006/relationships/slideLayout" Target="../slideLayouts/slideLayout249.xml"/><Relationship Id="rId41" Type="http://schemas.openxmlformats.org/officeDocument/2006/relationships/slideLayout" Target="../slideLayouts/slideLayout270.xml"/><Relationship Id="rId54" Type="http://schemas.openxmlformats.org/officeDocument/2006/relationships/slideLayout" Target="../slideLayouts/slideLayout283.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49" Type="http://schemas.openxmlformats.org/officeDocument/2006/relationships/slideLayout" Target="../slideLayouts/slideLayout278.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slideLayout" Target="../slideLayouts/slideLayout310.xml"/><Relationship Id="rId39" Type="http://schemas.openxmlformats.org/officeDocument/2006/relationships/slideLayout" Target="../slideLayouts/slideLayout323.xml"/><Relationship Id="rId21" Type="http://schemas.openxmlformats.org/officeDocument/2006/relationships/slideLayout" Target="../slideLayouts/slideLayout305.xml"/><Relationship Id="rId34" Type="http://schemas.openxmlformats.org/officeDocument/2006/relationships/slideLayout" Target="../slideLayouts/slideLayout318.xml"/><Relationship Id="rId42" Type="http://schemas.openxmlformats.org/officeDocument/2006/relationships/slideLayout" Target="../slideLayouts/slideLayout326.xml"/><Relationship Id="rId47" Type="http://schemas.openxmlformats.org/officeDocument/2006/relationships/theme" Target="../theme/theme11.xml"/><Relationship Id="rId50" Type="http://schemas.openxmlformats.org/officeDocument/2006/relationships/image" Target="../media/image3.png"/><Relationship Id="rId7" Type="http://schemas.openxmlformats.org/officeDocument/2006/relationships/slideLayout" Target="../slideLayouts/slideLayout291.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9" Type="http://schemas.openxmlformats.org/officeDocument/2006/relationships/slideLayout" Target="../slideLayouts/slideLayout313.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32" Type="http://schemas.openxmlformats.org/officeDocument/2006/relationships/slideLayout" Target="../slideLayouts/slideLayout316.xml"/><Relationship Id="rId37" Type="http://schemas.openxmlformats.org/officeDocument/2006/relationships/slideLayout" Target="../slideLayouts/slideLayout321.xml"/><Relationship Id="rId40" Type="http://schemas.openxmlformats.org/officeDocument/2006/relationships/slideLayout" Target="../slideLayouts/slideLayout324.xml"/><Relationship Id="rId45" Type="http://schemas.openxmlformats.org/officeDocument/2006/relationships/slideLayout" Target="../slideLayouts/slideLayout329.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28" Type="http://schemas.openxmlformats.org/officeDocument/2006/relationships/slideLayout" Target="../slideLayouts/slideLayout312.xml"/><Relationship Id="rId36" Type="http://schemas.openxmlformats.org/officeDocument/2006/relationships/slideLayout" Target="../slideLayouts/slideLayout320.xml"/><Relationship Id="rId49" Type="http://schemas.openxmlformats.org/officeDocument/2006/relationships/image" Target="../media/image7.png"/><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31" Type="http://schemas.openxmlformats.org/officeDocument/2006/relationships/slideLayout" Target="../slideLayouts/slideLayout315.xml"/><Relationship Id="rId44" Type="http://schemas.openxmlformats.org/officeDocument/2006/relationships/slideLayout" Target="../slideLayouts/slideLayout328.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slideLayout" Target="../slideLayouts/slideLayout311.xml"/><Relationship Id="rId30" Type="http://schemas.openxmlformats.org/officeDocument/2006/relationships/slideLayout" Target="../slideLayouts/slideLayout314.xml"/><Relationship Id="rId35" Type="http://schemas.openxmlformats.org/officeDocument/2006/relationships/slideLayout" Target="../slideLayouts/slideLayout319.xml"/><Relationship Id="rId43" Type="http://schemas.openxmlformats.org/officeDocument/2006/relationships/slideLayout" Target="../slideLayouts/slideLayout327.xml"/><Relationship Id="rId48" Type="http://schemas.openxmlformats.org/officeDocument/2006/relationships/image" Target="../media/image1.emf"/><Relationship Id="rId8" Type="http://schemas.openxmlformats.org/officeDocument/2006/relationships/slideLayout" Target="../slideLayouts/slideLayout292.xml"/><Relationship Id="rId3" Type="http://schemas.openxmlformats.org/officeDocument/2006/relationships/slideLayout" Target="../slideLayouts/slideLayout287.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33" Type="http://schemas.openxmlformats.org/officeDocument/2006/relationships/slideLayout" Target="../slideLayouts/slideLayout317.xml"/><Relationship Id="rId38" Type="http://schemas.openxmlformats.org/officeDocument/2006/relationships/slideLayout" Target="../slideLayouts/slideLayout322.xml"/><Relationship Id="rId46" Type="http://schemas.openxmlformats.org/officeDocument/2006/relationships/slideLayout" Target="../slideLayouts/slideLayout330.xml"/><Relationship Id="rId20" Type="http://schemas.openxmlformats.org/officeDocument/2006/relationships/slideLayout" Target="../slideLayouts/slideLayout304.xml"/><Relationship Id="rId41" Type="http://schemas.openxmlformats.org/officeDocument/2006/relationships/slideLayout" Target="../slideLayouts/slideLayout325.xml"/><Relationship Id="rId1" Type="http://schemas.openxmlformats.org/officeDocument/2006/relationships/slideLayout" Target="../slideLayouts/slideLayout285.xml"/><Relationship Id="rId6" Type="http://schemas.openxmlformats.org/officeDocument/2006/relationships/slideLayout" Target="../slideLayouts/slideLayout29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theme" Target="../theme/theme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image" Target="../media/image6.png"/><Relationship Id="rId5" Type="http://schemas.openxmlformats.org/officeDocument/2006/relationships/theme" Target="../theme/theme3.xml"/><Relationship Id="rId4"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image" Target="../media/image7.png"/><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image" Target="../media/image1.emf"/><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theme" Target="../theme/theme4.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5" Type="http://schemas.openxmlformats.org/officeDocument/2006/relationships/slideLayout" Target="../slideLayouts/slideLayout120.xml"/><Relationship Id="rId10" Type="http://schemas.openxmlformats.org/officeDocument/2006/relationships/image" Target="../media/image8.png"/><Relationship Id="rId4" Type="http://schemas.openxmlformats.org/officeDocument/2006/relationships/slideLayout" Target="../slideLayouts/slideLayout11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6.xml"/><Relationship Id="rId7" Type="http://schemas.openxmlformats.org/officeDocument/2006/relationships/theme" Target="../theme/theme6.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10" Type="http://schemas.openxmlformats.org/officeDocument/2006/relationships/image" Target="../media/image7.png"/><Relationship Id="rId4" Type="http://schemas.openxmlformats.org/officeDocument/2006/relationships/slideLayout" Target="../slideLayouts/slideLayout127.xml"/><Relationship Id="rId9" Type="http://schemas.openxmlformats.org/officeDocument/2006/relationships/image" Target="../media/image11.jpe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32.xml"/><Relationship Id="rId7" Type="http://schemas.openxmlformats.org/officeDocument/2006/relationships/image" Target="../media/image10.png"/><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7.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image" Target="../media/image1.emf"/><Relationship Id="rId7" Type="http://schemas.openxmlformats.org/officeDocument/2006/relationships/slideLayout" Target="../slideLayouts/slideLayout14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41" Type="http://schemas.openxmlformats.org/officeDocument/2006/relationships/theme" Target="../theme/theme8.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8" Type="http://schemas.openxmlformats.org/officeDocument/2006/relationships/slideLayout" Target="../slideLayouts/slideLayout142.xml"/><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50" Type="http://schemas.openxmlformats.org/officeDocument/2006/relationships/slideLayout" Target="../slideLayouts/slideLayout224.xml"/><Relationship Id="rId55" Type="http://schemas.openxmlformats.org/officeDocument/2006/relationships/slideLayout" Target="../slideLayouts/slideLayout229.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9" Type="http://schemas.openxmlformats.org/officeDocument/2006/relationships/slideLayout" Target="../slideLayouts/slideLayout203.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3" Type="http://schemas.openxmlformats.org/officeDocument/2006/relationships/slideLayout" Target="../slideLayouts/slideLayout227.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52" Type="http://schemas.openxmlformats.org/officeDocument/2006/relationships/slideLayout" Target="../slideLayouts/slideLayout226.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56" Type="http://schemas.openxmlformats.org/officeDocument/2006/relationships/theme" Target="../theme/theme9.xml"/><Relationship Id="rId8" Type="http://schemas.openxmlformats.org/officeDocument/2006/relationships/slideLayout" Target="../slideLayouts/slideLayout182.xml"/><Relationship Id="rId51" Type="http://schemas.openxmlformats.org/officeDocument/2006/relationships/slideLayout" Target="../slideLayouts/slideLayout225.xml"/><Relationship Id="rId3" Type="http://schemas.openxmlformats.org/officeDocument/2006/relationships/slideLayout" Target="../slideLayouts/slideLayout177.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20" Type="http://schemas.openxmlformats.org/officeDocument/2006/relationships/slideLayout" Target="../slideLayouts/slideLayout194.xml"/><Relationship Id="rId41" Type="http://schemas.openxmlformats.org/officeDocument/2006/relationships/slideLayout" Target="../slideLayouts/slideLayout215.xml"/><Relationship Id="rId54" Type="http://schemas.openxmlformats.org/officeDocument/2006/relationships/slideLayout" Target="../slideLayouts/slideLayout228.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0" y="2055814"/>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49"/>
            <a:ext cx="12174912" cy="6924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531321"/>
            <a:ext cx="545280"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pic>
        <p:nvPicPr>
          <p:cNvPr id="8" name="Picture 7"/>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a:off x="459087" y="7311390"/>
            <a:ext cx="1069643" cy="967284"/>
          </a:xfrm>
          <a:prstGeom prst="rect">
            <a:avLst/>
          </a:prstGeom>
        </p:spPr>
      </p:pic>
      <p:sp>
        <p:nvSpPr>
          <p:cNvPr id="11" name="Rectangle 10">
            <a:extLst>
              <a:ext uri="{FF2B5EF4-FFF2-40B4-BE49-F238E27FC236}">
                <a16:creationId xmlns:a16="http://schemas.microsoft.com/office/drawing/2014/main" id="{02E02312-9CA8-894B-B5FD-D8CF165BBDF5}"/>
              </a:ext>
            </a:extLst>
          </p:cNvPr>
          <p:cNvSpPr/>
          <p:nvPr userDrawn="1"/>
        </p:nvSpPr>
        <p:spPr bwMode="auto">
          <a:xfrm>
            <a:off x="602343" y="7547427"/>
            <a:ext cx="972457" cy="682173"/>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Tree>
    <p:extLst>
      <p:ext uri="{BB962C8B-B14F-4D97-AF65-F5344CB8AC3E}">
        <p14:creationId xmlns:p14="http://schemas.microsoft.com/office/powerpoint/2010/main" val="2002514728"/>
      </p:ext>
    </p:extLst>
  </p:cSld>
  <p:clrMap bg1="lt1" tx1="dk1" bg2="lt2" tx2="dk2" accent1="accent1" accent2="accent2" accent3="accent3" accent4="accent4" accent5="accent5" accent6="accent6" hlink="hlink" folHlink="folHlink"/>
  <p:sldLayoutIdLst>
    <p:sldLayoutId id="2147483685" r:id="rId1"/>
    <p:sldLayoutId id="2147483731" r:id="rId2"/>
    <p:sldLayoutId id="2147483732"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730" r:id="rId12"/>
    <p:sldLayoutId id="2147483695" r:id="rId13"/>
    <p:sldLayoutId id="2147483736" r:id="rId14"/>
    <p:sldLayoutId id="2147483700" r:id="rId15"/>
    <p:sldLayoutId id="2147483740" r:id="rId16"/>
    <p:sldLayoutId id="2147483697" r:id="rId17"/>
    <p:sldLayoutId id="2147483698" r:id="rId18"/>
    <p:sldLayoutId id="2147483699" r:id="rId19"/>
    <p:sldLayoutId id="2147483702" r:id="rId20"/>
    <p:sldLayoutId id="2147483735" r:id="rId21"/>
    <p:sldLayoutId id="2147483703" r:id="rId22"/>
    <p:sldLayoutId id="2147483737" r:id="rId23"/>
    <p:sldLayoutId id="2147483704" r:id="rId24"/>
    <p:sldLayoutId id="2147483739" r:id="rId25"/>
    <p:sldLayoutId id="2147483706" r:id="rId26"/>
    <p:sldLayoutId id="2147483734" r:id="rId27"/>
    <p:sldLayoutId id="2147483733" r:id="rId28"/>
    <p:sldLayoutId id="2147483707" r:id="rId29"/>
    <p:sldLayoutId id="2147483708" r:id="rId30"/>
    <p:sldLayoutId id="2147483709" r:id="rId31"/>
    <p:sldLayoutId id="2147483710" r:id="rId32"/>
    <p:sldLayoutId id="2147483711" r:id="rId33"/>
    <p:sldLayoutId id="2147483712" r:id="rId34"/>
    <p:sldLayoutId id="2147483713" r:id="rId35"/>
    <p:sldLayoutId id="2147483742" r:id="rId36"/>
    <p:sldLayoutId id="2147483744" r:id="rId37"/>
    <p:sldLayoutId id="2147483747" r:id="rId38"/>
    <p:sldLayoutId id="2147483843" r:id="rId39"/>
    <p:sldLayoutId id="2147483844" r:id="rId40"/>
    <p:sldLayoutId id="2147483845" r:id="rId41"/>
  </p:sldLayoutIdLst>
  <p:transition>
    <p:fade/>
  </p:transition>
  <p:hf hdr="0" ftr="0" dt="0"/>
  <p:txStyles>
    <p:titleStyle>
      <a:lvl1pPr algn="l" rtl="0" eaLnBrk="1" fontAlgn="base" hangingPunct="1">
        <a:lnSpc>
          <a:spcPct val="100000"/>
        </a:lnSpc>
        <a:spcBef>
          <a:spcPct val="0"/>
        </a:spcBef>
        <a:spcAft>
          <a:spcPct val="0"/>
        </a:spcAft>
        <a:defRPr sz="450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43"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86"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930"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73"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402" indent="-285293"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40" indent="-28803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824" indent="-24140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736" indent="-24140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557" indent="-22936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468"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43" rtl="0" eaLnBrk="1" latinLnBrk="0" hangingPunct="1">
        <a:defRPr sz="1320" kern="1200">
          <a:solidFill>
            <a:schemeClr val="tx1"/>
          </a:solidFill>
          <a:latin typeface="+mn-lt"/>
          <a:ea typeface="+mn-ea"/>
          <a:cs typeface="+mn-cs"/>
        </a:defRPr>
      </a:lvl1pPr>
      <a:lvl2pPr marL="345643" algn="l" defTabSz="345643" rtl="0" eaLnBrk="1" latinLnBrk="0" hangingPunct="1">
        <a:defRPr sz="1320" kern="1200">
          <a:solidFill>
            <a:schemeClr val="tx1"/>
          </a:solidFill>
          <a:latin typeface="+mn-lt"/>
          <a:ea typeface="+mn-ea"/>
          <a:cs typeface="+mn-cs"/>
        </a:defRPr>
      </a:lvl2pPr>
      <a:lvl3pPr marL="691286" algn="l" defTabSz="345643" rtl="0" eaLnBrk="1" latinLnBrk="0" hangingPunct="1">
        <a:defRPr sz="1320" kern="1200">
          <a:solidFill>
            <a:schemeClr val="tx1"/>
          </a:solidFill>
          <a:latin typeface="+mn-lt"/>
          <a:ea typeface="+mn-ea"/>
          <a:cs typeface="+mn-cs"/>
        </a:defRPr>
      </a:lvl3pPr>
      <a:lvl4pPr marL="1036930" algn="l" defTabSz="345643" rtl="0" eaLnBrk="1" latinLnBrk="0" hangingPunct="1">
        <a:defRPr sz="1320" kern="1200">
          <a:solidFill>
            <a:schemeClr val="tx1"/>
          </a:solidFill>
          <a:latin typeface="+mn-lt"/>
          <a:ea typeface="+mn-ea"/>
          <a:cs typeface="+mn-cs"/>
        </a:defRPr>
      </a:lvl4pPr>
      <a:lvl5pPr marL="1382573" algn="l" defTabSz="345643" rtl="0" eaLnBrk="1" latinLnBrk="0" hangingPunct="1">
        <a:defRPr sz="1320" kern="1200">
          <a:solidFill>
            <a:schemeClr val="tx1"/>
          </a:solidFill>
          <a:latin typeface="+mn-lt"/>
          <a:ea typeface="+mn-ea"/>
          <a:cs typeface="+mn-cs"/>
        </a:defRPr>
      </a:lvl5pPr>
      <a:lvl6pPr marL="1728216" algn="l" defTabSz="345643" rtl="0" eaLnBrk="1" latinLnBrk="0" hangingPunct="1">
        <a:defRPr sz="1320" kern="1200">
          <a:solidFill>
            <a:schemeClr val="tx1"/>
          </a:solidFill>
          <a:latin typeface="+mn-lt"/>
          <a:ea typeface="+mn-ea"/>
          <a:cs typeface="+mn-cs"/>
        </a:defRPr>
      </a:lvl6pPr>
      <a:lvl7pPr marL="2073859" algn="l" defTabSz="345643" rtl="0" eaLnBrk="1" latinLnBrk="0" hangingPunct="1">
        <a:defRPr sz="1320" kern="1200">
          <a:solidFill>
            <a:schemeClr val="tx1"/>
          </a:solidFill>
          <a:latin typeface="+mn-lt"/>
          <a:ea typeface="+mn-ea"/>
          <a:cs typeface="+mn-cs"/>
        </a:defRPr>
      </a:lvl7pPr>
      <a:lvl8pPr marL="2419502" algn="l" defTabSz="345643" rtl="0" eaLnBrk="1" latinLnBrk="0" hangingPunct="1">
        <a:defRPr sz="1320" kern="1200">
          <a:solidFill>
            <a:schemeClr val="tx1"/>
          </a:solidFill>
          <a:latin typeface="+mn-lt"/>
          <a:ea typeface="+mn-ea"/>
          <a:cs typeface="+mn-cs"/>
        </a:defRPr>
      </a:lvl8pPr>
      <a:lvl9pPr marL="2765146" algn="l" defTabSz="345643" rtl="0" eaLnBrk="1" latinLnBrk="0" hangingPunct="1">
        <a:defRPr sz="13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345965" y="314720"/>
            <a:ext cx="11579335" cy="549382"/>
          </a:xfrm>
          <a:prstGeom prst="rect">
            <a:avLst/>
          </a:prstGeom>
        </p:spPr>
        <p:txBody>
          <a:bodyPr vert="horz" wrap="square" lIns="0" tIns="0" rIns="0" bIns="0" rtlCol="0" anchor="t">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347262" y="2186942"/>
            <a:ext cx="13932619" cy="533781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1520189" y="7698852"/>
            <a:ext cx="5705476" cy="184156"/>
          </a:xfrm>
          <a:prstGeom prst="rect">
            <a:avLst/>
          </a:prstGeom>
        </p:spPr>
        <p:txBody>
          <a:bodyPr vert="horz" lIns="0" tIns="0" rIns="0" bIns="0" rtlCol="0" anchor="ctr"/>
          <a:lstStyle>
            <a:lvl1pPr algn="l">
              <a:lnSpc>
                <a:spcPct val="110000"/>
              </a:lnSpc>
              <a:spcBef>
                <a:spcPts val="720"/>
              </a:spcBef>
              <a:spcAft>
                <a:spcPts val="720"/>
              </a:spcAft>
              <a:defRPr sz="1080" b="0" i="0">
                <a:solidFill>
                  <a:schemeClr val="tx1"/>
                </a:solidFill>
                <a:latin typeface="+mn-lt"/>
              </a:defRPr>
            </a:lvl1pPr>
          </a:lstStyle>
          <a:p>
            <a:endParaRPr lang="en-GB" dirty="0"/>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3277851" y="7698852"/>
            <a:ext cx="1005289" cy="184156"/>
          </a:xfrm>
          <a:prstGeom prst="rect">
            <a:avLst/>
          </a:prstGeom>
        </p:spPr>
        <p:txBody>
          <a:bodyPr vert="horz" lIns="0" tIns="0" rIns="0" bIns="0" rtlCol="0" anchor="ctr"/>
          <a:lstStyle>
            <a:lvl1pPr algn="r">
              <a:lnSpc>
                <a:spcPct val="110000"/>
              </a:lnSpc>
              <a:spcBef>
                <a:spcPts val="720"/>
              </a:spcBef>
              <a:spcAft>
                <a:spcPts val="720"/>
              </a:spcAft>
              <a:defRPr sz="1080" b="0" i="0">
                <a:solidFill>
                  <a:schemeClr val="tx1"/>
                </a:solidFill>
                <a:latin typeface="+mn-lt"/>
              </a:defRPr>
            </a:lvl1pPr>
          </a:lstStyle>
          <a:p>
            <a:fld id="{AD816501-AAE5-214E-B100-00C3DC5F5E3F}" type="slidenum">
              <a:rPr lang="en-US" smtClean="0"/>
              <a:pPr/>
              <a:t>‹#›</a:t>
            </a:fld>
            <a:endParaRPr lang="en-US" dirty="0"/>
          </a:p>
        </p:txBody>
      </p:sp>
      <p:sp>
        <p:nvSpPr>
          <p:cNvPr id="10" name="Graphic 8">
            <a:extLst>
              <a:ext uri="{FF2B5EF4-FFF2-40B4-BE49-F238E27FC236}">
                <a16:creationId xmlns:a16="http://schemas.microsoft.com/office/drawing/2014/main" id="{89912C14-54EA-5DA7-6F07-C2AB6D29AF6F}"/>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tx2"/>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2922769698"/>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 id="2147483998" r:id="rId41"/>
    <p:sldLayoutId id="2147483999" r:id="rId42"/>
    <p:sldLayoutId id="2147484000" r:id="rId43"/>
    <p:sldLayoutId id="2147484001" r:id="rId44"/>
    <p:sldLayoutId id="2147484002" r:id="rId45"/>
    <p:sldLayoutId id="2147484003" r:id="rId46"/>
    <p:sldLayoutId id="2147484004" r:id="rId47"/>
    <p:sldLayoutId id="2147484005" r:id="rId48"/>
    <p:sldLayoutId id="2147484006" r:id="rId49"/>
    <p:sldLayoutId id="2147484007" r:id="rId50"/>
    <p:sldLayoutId id="2147484008" r:id="rId51"/>
    <p:sldLayoutId id="2147484009" r:id="rId52"/>
    <p:sldLayoutId id="2147484010" r:id="rId53"/>
    <p:sldLayoutId id="2147484011" r:id="rId54"/>
    <p:sldLayoutId id="2147484012" r:id="rId55"/>
  </p:sldLayoutIdLst>
  <p:transition>
    <p:fade/>
  </p:transition>
  <p:hf sldNum="0" hdr="0" ftr="0" dt="0"/>
  <p:txStyles>
    <p:titleStyle>
      <a:lvl1pPr algn="l" defTabSz="1097236" rtl="0" eaLnBrk="1" latinLnBrk="0" hangingPunct="1">
        <a:lnSpc>
          <a:spcPct val="85000"/>
        </a:lnSpc>
        <a:spcBef>
          <a:spcPts val="720"/>
        </a:spcBef>
        <a:spcAft>
          <a:spcPts val="720"/>
        </a:spcAft>
        <a:buNone/>
        <a:defRPr sz="4200" b="0" i="0" kern="1200" spc="0" baseline="0">
          <a:solidFill>
            <a:schemeClr val="tx2"/>
          </a:solidFill>
          <a:latin typeface="+mj-lt"/>
          <a:ea typeface="+mj-ea"/>
          <a:cs typeface="+mj-cs"/>
        </a:defRPr>
      </a:lvl1pPr>
    </p:titleStyle>
    <p:body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sz="2160" b="0" i="0" kern="1200">
          <a:solidFill>
            <a:schemeClr val="tx1"/>
          </a:solidFill>
          <a:latin typeface="+mn-lt"/>
          <a:ea typeface="+mn-ea"/>
          <a:cs typeface="+mn-cs"/>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16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19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888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96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3" pos="708">
          <p15:clr>
            <a:srgbClr val="F26B43"/>
          </p15:clr>
        </p15:guide>
        <p15:guide id="4" pos="798">
          <p15:clr>
            <a:srgbClr val="F26B43"/>
          </p15:clr>
        </p15:guide>
        <p15:guide id="5" pos="1325">
          <p15:clr>
            <a:srgbClr val="F26B43"/>
          </p15:clr>
        </p15:guide>
        <p15:guide id="6" pos="1415">
          <p15:clr>
            <a:srgbClr val="F26B43"/>
          </p15:clr>
        </p15:guide>
        <p15:guide id="7" pos="1942">
          <p15:clr>
            <a:srgbClr val="F26B43"/>
          </p15:clr>
        </p15:guide>
        <p15:guide id="8" pos="2032">
          <p15:clr>
            <a:srgbClr val="F26B43"/>
          </p15:clr>
        </p15:guide>
        <p15:guide id="9" pos="2559">
          <p15:clr>
            <a:srgbClr val="F26B43"/>
          </p15:clr>
        </p15:guide>
        <p15:guide id="10" pos="2650">
          <p15:clr>
            <a:srgbClr val="F26B43"/>
          </p15:clr>
        </p15:guide>
        <p15:guide id="11" pos="3176">
          <p15:clr>
            <a:srgbClr val="F26B43"/>
          </p15:clr>
        </p15:guide>
        <p15:guide id="12" pos="3267">
          <p15:clr>
            <a:srgbClr val="F26B43"/>
          </p15:clr>
        </p15:guide>
        <p15:guide id="13" pos="3793">
          <p15:clr>
            <a:srgbClr val="F26B43"/>
          </p15:clr>
        </p15:guide>
        <p15:guide id="14" pos="3884">
          <p15:clr>
            <a:srgbClr val="F26B43"/>
          </p15:clr>
        </p15:guide>
        <p15:guide id="15" pos="4411">
          <p15:clr>
            <a:srgbClr val="F26B43"/>
          </p15:clr>
        </p15:guide>
        <p15:guide id="16" pos="4501">
          <p15:clr>
            <a:srgbClr val="F26B43"/>
          </p15:clr>
        </p15:guide>
        <p15:guide id="17" pos="5028">
          <p15:clr>
            <a:srgbClr val="F26B43"/>
          </p15:clr>
        </p15:guide>
        <p15:guide id="18" pos="5118">
          <p15:clr>
            <a:srgbClr val="F26B43"/>
          </p15:clr>
        </p15:guide>
        <p15:guide id="19" pos="5645">
          <p15:clr>
            <a:srgbClr val="F26B43"/>
          </p15:clr>
        </p15:guide>
        <p15:guide id="20" pos="5735">
          <p15:clr>
            <a:srgbClr val="F26B43"/>
          </p15:clr>
        </p15:guide>
        <p15:guide id="21" pos="6262">
          <p15:clr>
            <a:srgbClr val="F26B43"/>
          </p15:clr>
        </p15:guide>
        <p15:guide id="22" pos="6352">
          <p15:clr>
            <a:srgbClr val="F26B43"/>
          </p15:clr>
        </p15:guide>
        <p15:guide id="23" pos="6879">
          <p15:clr>
            <a:srgbClr val="F26B43"/>
          </p15:clr>
        </p15:guide>
        <p15:guide id="24" pos="6970">
          <p15:clr>
            <a:srgbClr val="F26B43"/>
          </p15:clr>
        </p15:guide>
        <p15:guide id="25" pos="7496">
          <p15:clr>
            <a:srgbClr val="F26B43"/>
          </p15:clr>
        </p15:guide>
        <p15:guide id="28" orient="horz" pos="1382">
          <p15:clr>
            <a:srgbClr val="F26B43"/>
          </p15:clr>
        </p15:guide>
        <p15:guide id="29" orient="horz" pos="1473">
          <p15:clr>
            <a:srgbClr val="F26B43"/>
          </p15:clr>
        </p15:guide>
        <p15:guide id="30" orient="horz" pos="2024">
          <p15:clr>
            <a:srgbClr val="F26B43"/>
          </p15:clr>
        </p15:guide>
        <p15:guide id="31" orient="horz" pos="2115">
          <p15:clr>
            <a:srgbClr val="F26B43"/>
          </p15:clr>
        </p15:guide>
        <p15:guide id="32" orient="horz" pos="2666">
          <p15:clr>
            <a:srgbClr val="F26B43"/>
          </p15:clr>
        </p15:guide>
        <p15:guide id="33" orient="horz" pos="2757">
          <p15:clr>
            <a:srgbClr val="F26B43"/>
          </p15:clr>
        </p15:guide>
        <p15:guide id="34" orient="horz" pos="3308">
          <p15:clr>
            <a:srgbClr val="F26B43"/>
          </p15:clr>
        </p15:guide>
        <p15:guide id="35" orient="horz" pos="3398">
          <p15:clr>
            <a:srgbClr val="F26B43"/>
          </p15:clr>
        </p15:guide>
        <p15:guide id="36" orient="horz" pos="3954">
          <p15:clr>
            <a:srgbClr val="F26B43"/>
          </p15:clr>
        </p15:guide>
        <p15:guide id="37" orient="horz" pos="4044">
          <p15:clr>
            <a:srgbClr val="F26B43"/>
          </p15:clr>
        </p15:guide>
        <p15:guide id="38" orient="horz" pos="4131">
          <p15:clr>
            <a:srgbClr val="F26B43"/>
          </p15:clr>
        </p15:guide>
        <p15:guide id="39" orient="horz" pos="738">
          <p15:clr>
            <a:srgbClr val="F26B43"/>
          </p15:clr>
        </p15:guide>
        <p15:guide id="40" orient="horz" pos="828">
          <p15:clr>
            <a:srgbClr val="F26B43"/>
          </p15:clr>
        </p15:guide>
        <p15:guide id="41" orient="horz" pos="1060">
          <p15:clr>
            <a:srgbClr val="F26B43"/>
          </p15:clr>
        </p15:guide>
        <p15:guide id="42" orient="horz" pos="1148">
          <p15:clr>
            <a:srgbClr val="F26B43"/>
          </p15:clr>
        </p15:guide>
        <p15:guide id="43" orient="horz" pos="1702">
          <p15:clr>
            <a:srgbClr val="F26B43"/>
          </p15:clr>
        </p15:guide>
        <p15:guide id="44" orient="horz" pos="1794">
          <p15:clr>
            <a:srgbClr val="F26B43"/>
          </p15:clr>
        </p15:guide>
        <p15:guide id="45" orient="horz" pos="2346">
          <p15:clr>
            <a:srgbClr val="F26B43"/>
          </p15:clr>
        </p15:guide>
        <p15:guide id="46" orient="horz" pos="2436">
          <p15:clr>
            <a:srgbClr val="F26B43"/>
          </p15:clr>
        </p15:guide>
        <p15:guide id="47" orient="horz" pos="2990">
          <p15:clr>
            <a:srgbClr val="F26B43"/>
          </p15:clr>
        </p15:guide>
        <p15:guide id="48" orient="horz" pos="3080">
          <p15:clr>
            <a:srgbClr val="F26B43"/>
          </p15:clr>
        </p15:guide>
        <p15:guide id="49" orient="horz" pos="3632">
          <p15:clr>
            <a:srgbClr val="F26B43"/>
          </p15:clr>
        </p15:guide>
        <p15:guide id="50" orient="horz" pos="3722">
          <p15:clr>
            <a:srgbClr val="F26B43"/>
          </p15:clr>
        </p15:guide>
        <p15:guide id="51" orient="horz" pos="346">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1" y="2055814"/>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52"/>
            <a:ext cx="12174912" cy="6924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531323"/>
            <a:ext cx="545280"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pic>
        <p:nvPicPr>
          <p:cNvPr id="8" name="Picture 7"/>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459089" y="7311390"/>
            <a:ext cx="1069643" cy="967284"/>
          </a:xfrm>
          <a:prstGeom prst="rect">
            <a:avLst/>
          </a:prstGeom>
        </p:spPr>
      </p:pic>
      <p:sp>
        <p:nvSpPr>
          <p:cNvPr id="11" name="Rectangle 10">
            <a:extLst>
              <a:ext uri="{FF2B5EF4-FFF2-40B4-BE49-F238E27FC236}">
                <a16:creationId xmlns:a16="http://schemas.microsoft.com/office/drawing/2014/main" id="{02E02312-9CA8-894B-B5FD-D8CF165BBDF5}"/>
              </a:ext>
            </a:extLst>
          </p:cNvPr>
          <p:cNvSpPr/>
          <p:nvPr userDrawn="1"/>
        </p:nvSpPr>
        <p:spPr bwMode="auto">
          <a:xfrm>
            <a:off x="602346" y="7547427"/>
            <a:ext cx="972457" cy="68217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28"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pic>
        <p:nvPicPr>
          <p:cNvPr id="9" name="Picture 8">
            <a:extLst>
              <a:ext uri="{FF2B5EF4-FFF2-40B4-BE49-F238E27FC236}">
                <a16:creationId xmlns:a16="http://schemas.microsoft.com/office/drawing/2014/main" id="{B8701F88-B5CC-AA40-846F-FCB9512B5AA1}"/>
              </a:ext>
              <a:ext uri="{C183D7F6-B498-43B3-948B-1728B52AA6E4}">
                <adec:decorative xmlns:adec="http://schemas.microsoft.com/office/drawing/2017/decorative" val="1"/>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712936" y="7638446"/>
            <a:ext cx="1339148" cy="245112"/>
          </a:xfrm>
          <a:prstGeom prst="rect">
            <a:avLst/>
          </a:prstGeom>
        </p:spPr>
      </p:pic>
      <p:pic>
        <p:nvPicPr>
          <p:cNvPr id="2" name="Picture 1" descr="A picture containing drawing&#10;&#10;Description automatically generated">
            <a:extLst>
              <a:ext uri="{FF2B5EF4-FFF2-40B4-BE49-F238E27FC236}">
                <a16:creationId xmlns:a16="http://schemas.microsoft.com/office/drawing/2014/main" id="{B84EC264-1C78-FD48-5924-2FD8BF00CFD0}"/>
              </a:ext>
            </a:extLst>
          </p:cNvPr>
          <p:cNvPicPr>
            <a:picLocks noChangeAspect="1"/>
          </p:cNvPicPr>
          <p:nvPr userDrawn="1"/>
        </p:nvPicPr>
        <p:blipFill>
          <a:blip r:embed="rId50"/>
          <a:stretch>
            <a:fillRect/>
          </a:stretch>
        </p:blipFill>
        <p:spPr>
          <a:xfrm>
            <a:off x="12070992" y="7653652"/>
            <a:ext cx="1729048" cy="339160"/>
          </a:xfrm>
          <a:prstGeom prst="rect">
            <a:avLst/>
          </a:prstGeom>
        </p:spPr>
      </p:pic>
    </p:spTree>
    <p:extLst>
      <p:ext uri="{BB962C8B-B14F-4D97-AF65-F5344CB8AC3E}">
        <p14:creationId xmlns:p14="http://schemas.microsoft.com/office/powerpoint/2010/main" val="1946069672"/>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 id="2147484037" r:id="rId24"/>
    <p:sldLayoutId id="2147484038" r:id="rId25"/>
    <p:sldLayoutId id="2147484039" r:id="rId26"/>
    <p:sldLayoutId id="2147484040" r:id="rId27"/>
    <p:sldLayoutId id="2147484041" r:id="rId28"/>
    <p:sldLayoutId id="2147484042" r:id="rId29"/>
    <p:sldLayoutId id="2147484043" r:id="rId30"/>
    <p:sldLayoutId id="2147484044" r:id="rId31"/>
    <p:sldLayoutId id="2147484045" r:id="rId32"/>
    <p:sldLayoutId id="2147484046" r:id="rId33"/>
    <p:sldLayoutId id="2147484047" r:id="rId34"/>
    <p:sldLayoutId id="2147484048" r:id="rId35"/>
    <p:sldLayoutId id="2147484049" r:id="rId36"/>
    <p:sldLayoutId id="2147484050" r:id="rId37"/>
    <p:sldLayoutId id="2147484051" r:id="rId38"/>
    <p:sldLayoutId id="2147484052" r:id="rId39"/>
    <p:sldLayoutId id="2147484053" r:id="rId40"/>
    <p:sldLayoutId id="2147484054" r:id="rId41"/>
    <p:sldLayoutId id="2147484055" r:id="rId42"/>
    <p:sldLayoutId id="2147484056" r:id="rId43"/>
    <p:sldLayoutId id="2147484057" r:id="rId44"/>
    <p:sldLayoutId id="2147484058" r:id="rId45"/>
    <p:sldLayoutId id="2147484059" r:id="rId46"/>
  </p:sldLayoutIdLst>
  <p:transition>
    <p:fade/>
  </p:transition>
  <p:hf hdr="0" ftr="0" dt="0"/>
  <p:txStyles>
    <p:titleStyle>
      <a:lvl1pPr algn="l" rtl="0" eaLnBrk="1" fontAlgn="base" hangingPunct="1">
        <a:lnSpc>
          <a:spcPct val="100000"/>
        </a:lnSpc>
        <a:spcBef>
          <a:spcPct val="0"/>
        </a:spcBef>
        <a:spcAft>
          <a:spcPct val="0"/>
        </a:spcAft>
        <a:defRPr sz="450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16"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31"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848"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462"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382" indent="-285270"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596" indent="-288012"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754" indent="-24138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630" indent="-24138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414" indent="-229343"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297" indent="-230410"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6913" indent="-230410"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528" indent="-230410"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143" indent="-230410"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16" rtl="0" eaLnBrk="1" latinLnBrk="0" hangingPunct="1">
        <a:defRPr sz="1320" kern="1200">
          <a:solidFill>
            <a:schemeClr val="tx1"/>
          </a:solidFill>
          <a:latin typeface="+mn-lt"/>
          <a:ea typeface="+mn-ea"/>
          <a:cs typeface="+mn-cs"/>
        </a:defRPr>
      </a:lvl1pPr>
      <a:lvl2pPr marL="345616" algn="l" defTabSz="345616" rtl="0" eaLnBrk="1" latinLnBrk="0" hangingPunct="1">
        <a:defRPr sz="1320" kern="1200">
          <a:solidFill>
            <a:schemeClr val="tx1"/>
          </a:solidFill>
          <a:latin typeface="+mn-lt"/>
          <a:ea typeface="+mn-ea"/>
          <a:cs typeface="+mn-cs"/>
        </a:defRPr>
      </a:lvl2pPr>
      <a:lvl3pPr marL="691231" algn="l" defTabSz="345616" rtl="0" eaLnBrk="1" latinLnBrk="0" hangingPunct="1">
        <a:defRPr sz="1320" kern="1200">
          <a:solidFill>
            <a:schemeClr val="tx1"/>
          </a:solidFill>
          <a:latin typeface="+mn-lt"/>
          <a:ea typeface="+mn-ea"/>
          <a:cs typeface="+mn-cs"/>
        </a:defRPr>
      </a:lvl3pPr>
      <a:lvl4pPr marL="1036848" algn="l" defTabSz="345616" rtl="0" eaLnBrk="1" latinLnBrk="0" hangingPunct="1">
        <a:defRPr sz="1320" kern="1200">
          <a:solidFill>
            <a:schemeClr val="tx1"/>
          </a:solidFill>
          <a:latin typeface="+mn-lt"/>
          <a:ea typeface="+mn-ea"/>
          <a:cs typeface="+mn-cs"/>
        </a:defRPr>
      </a:lvl4pPr>
      <a:lvl5pPr marL="1382462" algn="l" defTabSz="345616" rtl="0" eaLnBrk="1" latinLnBrk="0" hangingPunct="1">
        <a:defRPr sz="1320" kern="1200">
          <a:solidFill>
            <a:schemeClr val="tx1"/>
          </a:solidFill>
          <a:latin typeface="+mn-lt"/>
          <a:ea typeface="+mn-ea"/>
          <a:cs typeface="+mn-cs"/>
        </a:defRPr>
      </a:lvl5pPr>
      <a:lvl6pPr marL="1728077" algn="l" defTabSz="345616" rtl="0" eaLnBrk="1" latinLnBrk="0" hangingPunct="1">
        <a:defRPr sz="1320" kern="1200">
          <a:solidFill>
            <a:schemeClr val="tx1"/>
          </a:solidFill>
          <a:latin typeface="+mn-lt"/>
          <a:ea typeface="+mn-ea"/>
          <a:cs typeface="+mn-cs"/>
        </a:defRPr>
      </a:lvl6pPr>
      <a:lvl7pPr marL="2073694" algn="l" defTabSz="345616" rtl="0" eaLnBrk="1" latinLnBrk="0" hangingPunct="1">
        <a:defRPr sz="1320" kern="1200">
          <a:solidFill>
            <a:schemeClr val="tx1"/>
          </a:solidFill>
          <a:latin typeface="+mn-lt"/>
          <a:ea typeface="+mn-ea"/>
          <a:cs typeface="+mn-cs"/>
        </a:defRPr>
      </a:lvl7pPr>
      <a:lvl8pPr marL="2419308" algn="l" defTabSz="345616" rtl="0" eaLnBrk="1" latinLnBrk="0" hangingPunct="1">
        <a:defRPr sz="1320" kern="1200">
          <a:solidFill>
            <a:schemeClr val="tx1"/>
          </a:solidFill>
          <a:latin typeface="+mn-lt"/>
          <a:ea typeface="+mn-ea"/>
          <a:cs typeface="+mn-cs"/>
        </a:defRPr>
      </a:lvl8pPr>
      <a:lvl9pPr marL="2764925" algn="l" defTabSz="345616" rtl="0" eaLnBrk="1" latinLnBrk="0" hangingPunct="1">
        <a:defRPr sz="13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2" y="2055817"/>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49"/>
            <a:ext cx="12174912" cy="692499"/>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629527"/>
            <a:ext cx="545280" cy="400050"/>
          </a:xfrm>
          <a:prstGeom prst="rect">
            <a:avLst/>
          </a:prstGeom>
        </p:spPr>
        <p:txBody>
          <a:bodyPr vert="horz" lIns="91440" tIns="45720" rIns="91440" bIns="45720" rtlCol="0" anchor="ctr"/>
          <a:lstStyle>
            <a:lvl1pPr algn="r">
              <a:defRPr sz="960">
                <a:solidFill>
                  <a:srgbClr val="FF0000"/>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940914449"/>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Lst>
  <p:transition>
    <p:fade/>
  </p:transition>
  <p:hf hdr="0" ftr="0" dt="0"/>
  <p:txStyles>
    <p:titleStyle>
      <a:lvl1pPr algn="l" rtl="0" eaLnBrk="1" fontAlgn="base" hangingPunct="1">
        <a:lnSpc>
          <a:spcPct val="100000"/>
        </a:lnSpc>
        <a:spcBef>
          <a:spcPct val="0"/>
        </a:spcBef>
        <a:spcAft>
          <a:spcPct val="0"/>
        </a:spcAft>
        <a:defRPr sz="4501"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2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5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890"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18"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392" indent="-285282"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19" indent="-288026"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789" indent="-24139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683" indent="-24139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486" indent="-22935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384" indent="-230419" algn="l" rtl="0" eaLnBrk="1" fontAlgn="base" hangingPunct="1">
        <a:spcBef>
          <a:spcPts val="454"/>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011" indent="-230419" algn="l" rtl="0" eaLnBrk="1" fontAlgn="base" hangingPunct="1">
        <a:spcBef>
          <a:spcPts val="454"/>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642" indent="-230419" algn="l" rtl="0" eaLnBrk="1" fontAlgn="base" hangingPunct="1">
        <a:spcBef>
          <a:spcPts val="454"/>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270" indent="-230419" algn="l" rtl="0" eaLnBrk="1" fontAlgn="base" hangingPunct="1">
        <a:spcBef>
          <a:spcPts val="454"/>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29" rtl="0" eaLnBrk="1" latinLnBrk="0" hangingPunct="1">
        <a:defRPr sz="1320" kern="1200">
          <a:solidFill>
            <a:schemeClr val="tx1"/>
          </a:solidFill>
          <a:latin typeface="+mn-lt"/>
          <a:ea typeface="+mn-ea"/>
          <a:cs typeface="+mn-cs"/>
        </a:defRPr>
      </a:lvl1pPr>
      <a:lvl2pPr marL="345629" algn="l" defTabSz="345629" rtl="0" eaLnBrk="1" latinLnBrk="0" hangingPunct="1">
        <a:defRPr sz="1320" kern="1200">
          <a:solidFill>
            <a:schemeClr val="tx1"/>
          </a:solidFill>
          <a:latin typeface="+mn-lt"/>
          <a:ea typeface="+mn-ea"/>
          <a:cs typeface="+mn-cs"/>
        </a:defRPr>
      </a:lvl2pPr>
      <a:lvl3pPr marL="691259" algn="l" defTabSz="345629" rtl="0" eaLnBrk="1" latinLnBrk="0" hangingPunct="1">
        <a:defRPr sz="1320" kern="1200">
          <a:solidFill>
            <a:schemeClr val="tx1"/>
          </a:solidFill>
          <a:latin typeface="+mn-lt"/>
          <a:ea typeface="+mn-ea"/>
          <a:cs typeface="+mn-cs"/>
        </a:defRPr>
      </a:lvl3pPr>
      <a:lvl4pPr marL="1036890" algn="l" defTabSz="345629" rtl="0" eaLnBrk="1" latinLnBrk="0" hangingPunct="1">
        <a:defRPr sz="1320" kern="1200">
          <a:solidFill>
            <a:schemeClr val="tx1"/>
          </a:solidFill>
          <a:latin typeface="+mn-lt"/>
          <a:ea typeface="+mn-ea"/>
          <a:cs typeface="+mn-cs"/>
        </a:defRPr>
      </a:lvl4pPr>
      <a:lvl5pPr marL="1382518" algn="l" defTabSz="345629" rtl="0" eaLnBrk="1" latinLnBrk="0" hangingPunct="1">
        <a:defRPr sz="1320" kern="1200">
          <a:solidFill>
            <a:schemeClr val="tx1"/>
          </a:solidFill>
          <a:latin typeface="+mn-lt"/>
          <a:ea typeface="+mn-ea"/>
          <a:cs typeface="+mn-cs"/>
        </a:defRPr>
      </a:lvl5pPr>
      <a:lvl6pPr marL="1728147" algn="l" defTabSz="345629" rtl="0" eaLnBrk="1" latinLnBrk="0" hangingPunct="1">
        <a:defRPr sz="1320" kern="1200">
          <a:solidFill>
            <a:schemeClr val="tx1"/>
          </a:solidFill>
          <a:latin typeface="+mn-lt"/>
          <a:ea typeface="+mn-ea"/>
          <a:cs typeface="+mn-cs"/>
        </a:defRPr>
      </a:lvl6pPr>
      <a:lvl7pPr marL="2073776" algn="l" defTabSz="345629" rtl="0" eaLnBrk="1" latinLnBrk="0" hangingPunct="1">
        <a:defRPr sz="1320" kern="1200">
          <a:solidFill>
            <a:schemeClr val="tx1"/>
          </a:solidFill>
          <a:latin typeface="+mn-lt"/>
          <a:ea typeface="+mn-ea"/>
          <a:cs typeface="+mn-cs"/>
        </a:defRPr>
      </a:lvl7pPr>
      <a:lvl8pPr marL="2419405" algn="l" defTabSz="345629" rtl="0" eaLnBrk="1" latinLnBrk="0" hangingPunct="1">
        <a:defRPr sz="1320" kern="1200">
          <a:solidFill>
            <a:schemeClr val="tx1"/>
          </a:solidFill>
          <a:latin typeface="+mn-lt"/>
          <a:ea typeface="+mn-ea"/>
          <a:cs typeface="+mn-cs"/>
        </a:defRPr>
      </a:lvl8pPr>
      <a:lvl9pPr marL="2765035" algn="l" defTabSz="345629" rtl="0" eaLnBrk="1" latinLnBrk="0" hangingPunct="1">
        <a:defRPr sz="132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1" y="2055814"/>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50"/>
            <a:ext cx="12174912" cy="4431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629525"/>
            <a:ext cx="545280" cy="400050"/>
          </a:xfrm>
          <a:prstGeom prst="rect">
            <a:avLst/>
          </a:prstGeom>
        </p:spPr>
        <p:txBody>
          <a:bodyPr vert="horz" lIns="91440" tIns="45720" rIns="91440" bIns="45720" rtlCol="0" anchor="ctr"/>
          <a:lstStyle>
            <a:lvl1pPr algn="ctr">
              <a:defRPr sz="960">
                <a:solidFill>
                  <a:schemeClr val="bg1">
                    <a:lumMod val="65000"/>
                  </a:schemeClr>
                </a:solidFill>
              </a:defRPr>
            </a:lvl1pPr>
          </a:lstStyle>
          <a:p>
            <a:r>
              <a:rPr lang="en-US" dirty="0"/>
              <a:t>&lt;#&gt;</a:t>
            </a:r>
          </a:p>
        </p:txBody>
      </p:sp>
      <p:pic>
        <p:nvPicPr>
          <p:cNvPr id="5" name="Picture 4">
            <a:extLst>
              <a:ext uri="{FF2B5EF4-FFF2-40B4-BE49-F238E27FC236}">
                <a16:creationId xmlns:a16="http://schemas.microsoft.com/office/drawing/2014/main" id="{43DAC64C-7192-4865-8D6A-8351365FAC91}"/>
              </a:ext>
            </a:extLst>
          </p:cNvPr>
          <p:cNvPicPr>
            <a:picLocks noChangeAspect="1"/>
          </p:cNvPicPr>
          <p:nvPr userDrawn="1"/>
        </p:nvPicPr>
        <p:blipFill>
          <a:blip r:embed="rId6"/>
          <a:stretch>
            <a:fillRect/>
          </a:stretch>
        </p:blipFill>
        <p:spPr>
          <a:xfrm>
            <a:off x="233045" y="7464625"/>
            <a:ext cx="2322646" cy="542174"/>
          </a:xfrm>
          <a:prstGeom prst="rect">
            <a:avLst/>
          </a:prstGeom>
        </p:spPr>
      </p:pic>
      <p:sp>
        <p:nvSpPr>
          <p:cNvPr id="7" name="Text Placeholder 6">
            <a:extLst>
              <a:ext uri="{FF2B5EF4-FFF2-40B4-BE49-F238E27FC236}">
                <a16:creationId xmlns:a16="http://schemas.microsoft.com/office/drawing/2014/main" id="{34C567B4-88BB-448E-BC7C-F818C61584D7}"/>
              </a:ext>
            </a:extLst>
          </p:cNvPr>
          <p:cNvSpPr txBox="1">
            <a:spLocks/>
          </p:cNvSpPr>
          <p:nvPr userDrawn="1"/>
        </p:nvSpPr>
        <p:spPr>
          <a:xfrm>
            <a:off x="563880" y="948676"/>
            <a:ext cx="13639800" cy="908706"/>
          </a:xfrm>
          <a:prstGeom prst="rect">
            <a:avLst/>
          </a:prstGeom>
        </p:spPr>
        <p:txBody>
          <a:bodyPr/>
          <a:lstStyle>
            <a:lvl1pPr marL="201160" indent="-237735" algn="l" rtl="0" eaLnBrk="1" fontAlgn="base" hangingPunct="1">
              <a:lnSpc>
                <a:spcPct val="100000"/>
              </a:lnSpc>
              <a:spcBef>
                <a:spcPts val="1800"/>
              </a:spcBef>
              <a:spcAft>
                <a:spcPct val="0"/>
              </a:spcAft>
              <a:buClr>
                <a:srgbClr val="63666A"/>
              </a:buClr>
              <a:buSzPct val="100000"/>
              <a:buFont typeface="Arial" pitchFamily="-65" charset="0"/>
              <a:buChar char="•"/>
              <a:defRPr sz="2500">
                <a:solidFill>
                  <a:srgbClr val="595959"/>
                </a:solidFill>
                <a:latin typeface="+mn-lt"/>
                <a:ea typeface="Arial Unicode MS" pitchFamily="-65" charset="0"/>
                <a:cs typeface="Arial Unicode MS" pitchFamily="-65" charset="0"/>
                <a:sym typeface="Arial" pitchFamily="-65" charset="0"/>
              </a:defRPr>
            </a:lvl1pPr>
            <a:lvl2pPr marL="457182" indent="-240020" algn="l" rtl="0" eaLnBrk="1" fontAlgn="base" hangingPunct="1">
              <a:lnSpc>
                <a:spcPct val="100000"/>
              </a:lnSpc>
              <a:spcBef>
                <a:spcPts val="0"/>
              </a:spcBef>
              <a:spcAft>
                <a:spcPct val="0"/>
              </a:spcAft>
              <a:buClr>
                <a:srgbClr val="63666A"/>
              </a:buClr>
              <a:buSzPct val="100000"/>
              <a:buFont typeface="Arial" pitchFamily="-65" charset="0"/>
              <a:buChar char="–"/>
              <a:defRPr sz="2000">
                <a:solidFill>
                  <a:srgbClr val="595959"/>
                </a:solidFill>
                <a:latin typeface="+mn-lt"/>
                <a:ea typeface="Arial Unicode MS" pitchFamily="-65" charset="0"/>
                <a:cs typeface="Arial Unicode MS" pitchFamily="-65" charset="0"/>
                <a:sym typeface="Arial" pitchFamily="-65" charset="0"/>
              </a:defRPr>
            </a:lvl2pPr>
            <a:lvl3pPr marL="731491" indent="-201160"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3pPr>
            <a:lvl4pPr marL="1097236" indent="-201160" algn="l" rtl="0" eaLnBrk="1" fontAlgn="base" hangingPunct="1">
              <a:lnSpc>
                <a:spcPct val="100000"/>
              </a:lnSpc>
              <a:spcBef>
                <a:spcPts val="0"/>
              </a:spcBef>
              <a:spcAft>
                <a:spcPct val="0"/>
              </a:spcAft>
              <a:buClr>
                <a:srgbClr val="63666A"/>
              </a:buClr>
              <a:buSzPct val="100000"/>
              <a:buFont typeface="Arial" pitchFamily="-65" charset="0"/>
              <a:buChar char="–"/>
              <a:defRPr sz="1500">
                <a:solidFill>
                  <a:srgbClr val="595959"/>
                </a:solidFill>
                <a:latin typeface="+mn-lt"/>
                <a:ea typeface="Arial Unicode MS" pitchFamily="-65" charset="0"/>
                <a:cs typeface="Arial Unicode MS" pitchFamily="-65" charset="0"/>
                <a:sym typeface="Arial" pitchFamily="-65" charset="0"/>
              </a:defRPr>
            </a:lvl4pPr>
            <a:lvl5pPr marL="1487905" indent="-191127" algn="l" rtl="0" eaLnBrk="1" fontAlgn="base" hangingPunct="1">
              <a:lnSpc>
                <a:spcPct val="100000"/>
              </a:lnSpc>
              <a:spcBef>
                <a:spcPts val="0"/>
              </a:spcBef>
              <a:spcAft>
                <a:spcPct val="0"/>
              </a:spcAft>
              <a:buClr>
                <a:srgbClr val="63666A"/>
              </a:buClr>
              <a:buSzPct val="100000"/>
              <a:buFont typeface="Arial" pitchFamily="-65" charset="0"/>
              <a:buChar char="»"/>
              <a:defRPr sz="1300">
                <a:solidFill>
                  <a:srgbClr val="595959"/>
                </a:solidFill>
                <a:latin typeface="+mn-lt"/>
                <a:ea typeface="Arial Unicode MS" pitchFamily="-65" charset="0"/>
                <a:cs typeface="Arial Unicode MS" pitchFamily="-65"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buFont typeface="Arial" pitchFamily="-65" charset="0"/>
              <a:buNone/>
            </a:pPr>
            <a:endParaRPr lang="en-US" sz="1920" kern="0" dirty="0">
              <a:solidFill>
                <a:schemeClr val="bg1">
                  <a:lumMod val="50000"/>
                </a:schemeClr>
              </a:solidFill>
              <a:latin typeface="+mj-lt"/>
              <a:cs typeface="Calibri" panose="020F0502020204030204" pitchFamily="34" charset="0"/>
            </a:endParaRPr>
          </a:p>
        </p:txBody>
      </p:sp>
    </p:spTree>
    <p:extLst>
      <p:ext uri="{BB962C8B-B14F-4D97-AF65-F5344CB8AC3E}">
        <p14:creationId xmlns:p14="http://schemas.microsoft.com/office/powerpoint/2010/main" val="3264436527"/>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1" r:id="rId4"/>
  </p:sldLayoutIdLst>
  <p:transition>
    <p:fade/>
  </p:transition>
  <p:hf hdr="0" dt="0"/>
  <p:txStyles>
    <p:titleStyle>
      <a:lvl1pPr algn="l" rtl="0" eaLnBrk="1" fontAlgn="base" hangingPunct="1">
        <a:lnSpc>
          <a:spcPct val="100000"/>
        </a:lnSpc>
        <a:spcBef>
          <a:spcPct val="0"/>
        </a:spcBef>
        <a:spcAft>
          <a:spcPct val="0"/>
        </a:spcAft>
        <a:defRPr sz="288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2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5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88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18"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392" indent="-285282"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18" indent="-288024"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789" indent="-24139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683" indent="-24139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486" indent="-22935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38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01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641"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270"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29" rtl="0" eaLnBrk="1" latinLnBrk="0" hangingPunct="1">
        <a:defRPr sz="1320" kern="1200">
          <a:solidFill>
            <a:schemeClr val="tx1"/>
          </a:solidFill>
          <a:latin typeface="+mn-lt"/>
          <a:ea typeface="+mn-ea"/>
          <a:cs typeface="+mn-cs"/>
        </a:defRPr>
      </a:lvl1pPr>
      <a:lvl2pPr marL="345629" algn="l" defTabSz="345629" rtl="0" eaLnBrk="1" latinLnBrk="0" hangingPunct="1">
        <a:defRPr sz="1320" kern="1200">
          <a:solidFill>
            <a:schemeClr val="tx1"/>
          </a:solidFill>
          <a:latin typeface="+mn-lt"/>
          <a:ea typeface="+mn-ea"/>
          <a:cs typeface="+mn-cs"/>
        </a:defRPr>
      </a:lvl2pPr>
      <a:lvl3pPr marL="691259" algn="l" defTabSz="345629" rtl="0" eaLnBrk="1" latinLnBrk="0" hangingPunct="1">
        <a:defRPr sz="1320" kern="1200">
          <a:solidFill>
            <a:schemeClr val="tx1"/>
          </a:solidFill>
          <a:latin typeface="+mn-lt"/>
          <a:ea typeface="+mn-ea"/>
          <a:cs typeface="+mn-cs"/>
        </a:defRPr>
      </a:lvl3pPr>
      <a:lvl4pPr marL="1036889" algn="l" defTabSz="345629" rtl="0" eaLnBrk="1" latinLnBrk="0" hangingPunct="1">
        <a:defRPr sz="1320" kern="1200">
          <a:solidFill>
            <a:schemeClr val="tx1"/>
          </a:solidFill>
          <a:latin typeface="+mn-lt"/>
          <a:ea typeface="+mn-ea"/>
          <a:cs typeface="+mn-cs"/>
        </a:defRPr>
      </a:lvl4pPr>
      <a:lvl5pPr marL="1382518" algn="l" defTabSz="345629" rtl="0" eaLnBrk="1" latinLnBrk="0" hangingPunct="1">
        <a:defRPr sz="1320" kern="1200">
          <a:solidFill>
            <a:schemeClr val="tx1"/>
          </a:solidFill>
          <a:latin typeface="+mn-lt"/>
          <a:ea typeface="+mn-ea"/>
          <a:cs typeface="+mn-cs"/>
        </a:defRPr>
      </a:lvl5pPr>
      <a:lvl6pPr marL="1728146" algn="l" defTabSz="345629" rtl="0" eaLnBrk="1" latinLnBrk="0" hangingPunct="1">
        <a:defRPr sz="1320" kern="1200">
          <a:solidFill>
            <a:schemeClr val="tx1"/>
          </a:solidFill>
          <a:latin typeface="+mn-lt"/>
          <a:ea typeface="+mn-ea"/>
          <a:cs typeface="+mn-cs"/>
        </a:defRPr>
      </a:lvl6pPr>
      <a:lvl7pPr marL="2073776" algn="l" defTabSz="345629" rtl="0" eaLnBrk="1" latinLnBrk="0" hangingPunct="1">
        <a:defRPr sz="1320" kern="1200">
          <a:solidFill>
            <a:schemeClr val="tx1"/>
          </a:solidFill>
          <a:latin typeface="+mn-lt"/>
          <a:ea typeface="+mn-ea"/>
          <a:cs typeface="+mn-cs"/>
        </a:defRPr>
      </a:lvl7pPr>
      <a:lvl8pPr marL="2419405" algn="l" defTabSz="345629" rtl="0" eaLnBrk="1" latinLnBrk="0" hangingPunct="1">
        <a:defRPr sz="1320" kern="1200">
          <a:solidFill>
            <a:schemeClr val="tx1"/>
          </a:solidFill>
          <a:latin typeface="+mn-lt"/>
          <a:ea typeface="+mn-ea"/>
          <a:cs typeface="+mn-cs"/>
        </a:defRPr>
      </a:lvl8pPr>
      <a:lvl9pPr marL="2765035" algn="l" defTabSz="345629" rtl="0" eaLnBrk="1" latinLnBrk="0" hangingPunct="1">
        <a:defRPr sz="132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1" y="2055814"/>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50"/>
            <a:ext cx="12174912" cy="6924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531322"/>
            <a:ext cx="545280"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pic>
        <p:nvPicPr>
          <p:cNvPr id="8" name="Picture 7"/>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459088" y="7311390"/>
            <a:ext cx="1069643" cy="967284"/>
          </a:xfrm>
          <a:prstGeom prst="rect">
            <a:avLst/>
          </a:prstGeom>
        </p:spPr>
      </p:pic>
      <p:sp>
        <p:nvSpPr>
          <p:cNvPr id="11" name="Rectangle 10">
            <a:extLst>
              <a:ext uri="{FF2B5EF4-FFF2-40B4-BE49-F238E27FC236}">
                <a16:creationId xmlns:a16="http://schemas.microsoft.com/office/drawing/2014/main" id="{02E02312-9CA8-894B-B5FD-D8CF165BBDF5}"/>
              </a:ext>
            </a:extLst>
          </p:cNvPr>
          <p:cNvSpPr/>
          <p:nvPr userDrawn="1"/>
        </p:nvSpPr>
        <p:spPr bwMode="auto">
          <a:xfrm>
            <a:off x="602344" y="7547427"/>
            <a:ext cx="972457" cy="68217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pic>
        <p:nvPicPr>
          <p:cNvPr id="9" name="Picture 8">
            <a:extLst>
              <a:ext uri="{FF2B5EF4-FFF2-40B4-BE49-F238E27FC236}">
                <a16:creationId xmlns:a16="http://schemas.microsoft.com/office/drawing/2014/main" id="{B8701F88-B5CC-AA40-846F-FCB9512B5AA1}"/>
              </a:ext>
              <a:ext uri="{C183D7F6-B498-43B3-948B-1728B52AA6E4}">
                <adec:decorative xmlns:adec="http://schemas.microsoft.com/office/drawing/2017/decorative" val="1"/>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712936" y="7638446"/>
            <a:ext cx="1339148" cy="245112"/>
          </a:xfrm>
          <a:prstGeom prst="rect">
            <a:avLst/>
          </a:prstGeom>
        </p:spPr>
      </p:pic>
    </p:spTree>
    <p:extLst>
      <p:ext uri="{BB962C8B-B14F-4D97-AF65-F5344CB8AC3E}">
        <p14:creationId xmlns:p14="http://schemas.microsoft.com/office/powerpoint/2010/main" val="313844916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Lst>
  <p:transition>
    <p:fade/>
  </p:transition>
  <p:hf hdr="0" ftr="0" dt="0"/>
  <p:txStyles>
    <p:titleStyle>
      <a:lvl1pPr algn="l" rtl="0" eaLnBrk="1" fontAlgn="base" hangingPunct="1">
        <a:lnSpc>
          <a:spcPct val="100000"/>
        </a:lnSpc>
        <a:spcBef>
          <a:spcPct val="0"/>
        </a:spcBef>
        <a:spcAft>
          <a:spcPct val="0"/>
        </a:spcAft>
        <a:defRPr sz="450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2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5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88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18"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392" indent="-285282"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18" indent="-288024"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789" indent="-24139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683" indent="-24139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486" indent="-22935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38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01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641"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270"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29" rtl="0" eaLnBrk="1" latinLnBrk="0" hangingPunct="1">
        <a:defRPr sz="1320" kern="1200">
          <a:solidFill>
            <a:schemeClr val="tx1"/>
          </a:solidFill>
          <a:latin typeface="+mn-lt"/>
          <a:ea typeface="+mn-ea"/>
          <a:cs typeface="+mn-cs"/>
        </a:defRPr>
      </a:lvl1pPr>
      <a:lvl2pPr marL="345629" algn="l" defTabSz="345629" rtl="0" eaLnBrk="1" latinLnBrk="0" hangingPunct="1">
        <a:defRPr sz="1320" kern="1200">
          <a:solidFill>
            <a:schemeClr val="tx1"/>
          </a:solidFill>
          <a:latin typeface="+mn-lt"/>
          <a:ea typeface="+mn-ea"/>
          <a:cs typeface="+mn-cs"/>
        </a:defRPr>
      </a:lvl2pPr>
      <a:lvl3pPr marL="691259" algn="l" defTabSz="345629" rtl="0" eaLnBrk="1" latinLnBrk="0" hangingPunct="1">
        <a:defRPr sz="1320" kern="1200">
          <a:solidFill>
            <a:schemeClr val="tx1"/>
          </a:solidFill>
          <a:latin typeface="+mn-lt"/>
          <a:ea typeface="+mn-ea"/>
          <a:cs typeface="+mn-cs"/>
        </a:defRPr>
      </a:lvl3pPr>
      <a:lvl4pPr marL="1036889" algn="l" defTabSz="345629" rtl="0" eaLnBrk="1" latinLnBrk="0" hangingPunct="1">
        <a:defRPr sz="1320" kern="1200">
          <a:solidFill>
            <a:schemeClr val="tx1"/>
          </a:solidFill>
          <a:latin typeface="+mn-lt"/>
          <a:ea typeface="+mn-ea"/>
          <a:cs typeface="+mn-cs"/>
        </a:defRPr>
      </a:lvl4pPr>
      <a:lvl5pPr marL="1382518" algn="l" defTabSz="345629" rtl="0" eaLnBrk="1" latinLnBrk="0" hangingPunct="1">
        <a:defRPr sz="1320" kern="1200">
          <a:solidFill>
            <a:schemeClr val="tx1"/>
          </a:solidFill>
          <a:latin typeface="+mn-lt"/>
          <a:ea typeface="+mn-ea"/>
          <a:cs typeface="+mn-cs"/>
        </a:defRPr>
      </a:lvl5pPr>
      <a:lvl6pPr marL="1728146" algn="l" defTabSz="345629" rtl="0" eaLnBrk="1" latinLnBrk="0" hangingPunct="1">
        <a:defRPr sz="1320" kern="1200">
          <a:solidFill>
            <a:schemeClr val="tx1"/>
          </a:solidFill>
          <a:latin typeface="+mn-lt"/>
          <a:ea typeface="+mn-ea"/>
          <a:cs typeface="+mn-cs"/>
        </a:defRPr>
      </a:lvl6pPr>
      <a:lvl7pPr marL="2073776" algn="l" defTabSz="345629" rtl="0" eaLnBrk="1" latinLnBrk="0" hangingPunct="1">
        <a:defRPr sz="1320" kern="1200">
          <a:solidFill>
            <a:schemeClr val="tx1"/>
          </a:solidFill>
          <a:latin typeface="+mn-lt"/>
          <a:ea typeface="+mn-ea"/>
          <a:cs typeface="+mn-cs"/>
        </a:defRPr>
      </a:lvl7pPr>
      <a:lvl8pPr marL="2419405" algn="l" defTabSz="345629" rtl="0" eaLnBrk="1" latinLnBrk="0" hangingPunct="1">
        <a:defRPr sz="1320" kern="1200">
          <a:solidFill>
            <a:schemeClr val="tx1"/>
          </a:solidFill>
          <a:latin typeface="+mn-lt"/>
          <a:ea typeface="+mn-ea"/>
          <a:cs typeface="+mn-cs"/>
        </a:defRPr>
      </a:lvl8pPr>
      <a:lvl9pPr marL="2765035" algn="l" defTabSz="345629" rtl="0" eaLnBrk="1" latinLnBrk="0" hangingPunct="1">
        <a:defRPr sz="132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11"/>
          <p:cNvSpPr/>
          <p:nvPr/>
        </p:nvSpPr>
        <p:spPr>
          <a:xfrm>
            <a:off x="0" y="7707688"/>
            <a:ext cx="14630400" cy="527880"/>
          </a:xfrm>
          <a:prstGeom prst="rect">
            <a:avLst/>
          </a:prstGeom>
          <a:solidFill>
            <a:srgbClr val="F3061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508115">
              <a:defRPr/>
            </a:pPr>
            <a:endParaRPr lang="en-US">
              <a:solidFill>
                <a:schemeClr val="bg1"/>
              </a:solidFill>
            </a:endParaRPr>
          </a:p>
        </p:txBody>
      </p:sp>
      <p:sp>
        <p:nvSpPr>
          <p:cNvPr id="4099" name="Rectangle 1"/>
          <p:cNvSpPr>
            <a:spLocks noGrp="1" noChangeArrowheads="1"/>
          </p:cNvSpPr>
          <p:nvPr>
            <p:ph type="title"/>
          </p:nvPr>
        </p:nvSpPr>
        <p:spPr bwMode="auto">
          <a:xfrm>
            <a:off x="914400" y="534390"/>
            <a:ext cx="12801600" cy="119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0921" tIns="45419" rIns="90921" bIns="45419" numCol="1" anchor="t" anchorCtr="0" compatLnSpc="1">
            <a:prstTxWarp prst="textNoShape">
              <a:avLst/>
            </a:prstTxWarp>
          </a:bodyPr>
          <a:lstStyle/>
          <a:p>
            <a:pPr lvl="0"/>
            <a:r>
              <a:rPr lang="en-US">
                <a:sym typeface="Arial" charset="0"/>
              </a:rPr>
              <a:t>Click to edit Master title style</a:t>
            </a:r>
          </a:p>
        </p:txBody>
      </p:sp>
      <p:sp>
        <p:nvSpPr>
          <p:cNvPr id="4100" name="Rectangle 2"/>
          <p:cNvSpPr>
            <a:spLocks noGrp="1" noChangeArrowheads="1"/>
          </p:cNvSpPr>
          <p:nvPr>
            <p:ph type="body" idx="1"/>
          </p:nvPr>
        </p:nvSpPr>
        <p:spPr bwMode="auto">
          <a:xfrm>
            <a:off x="914400" y="1828800"/>
            <a:ext cx="128016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0921" tIns="45419" rIns="90921" bIns="45419" numCol="1" anchor="t" anchorCtr="0" compatLnSpc="1">
            <a:prstTxWarp prst="textNoShape">
              <a:avLst/>
            </a:prstTxWarp>
          </a:bodyPr>
          <a:lstStyle/>
          <a:p>
            <a:pPr lvl="0"/>
            <a:r>
              <a:rPr lang="en-US">
                <a:sym typeface="Arial" charset="0"/>
              </a:rPr>
              <a:t>Click to edit Master text styles</a:t>
            </a:r>
          </a:p>
          <a:p>
            <a:pPr lvl="1"/>
            <a:r>
              <a:rPr lang="en-US">
                <a:sym typeface="Arial"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9" name="Text Placeholder 10"/>
          <p:cNvSpPr txBox="1">
            <a:spLocks/>
          </p:cNvSpPr>
          <p:nvPr/>
        </p:nvSpPr>
        <p:spPr bwMode="auto">
          <a:xfrm>
            <a:off x="13656549" y="7740488"/>
            <a:ext cx="843682" cy="45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6201" tIns="108100" rIns="216201" bIns="108100" anchor="ctr"/>
          <a:lstStyle>
            <a:lvl1pPr marL="341313" indent="-341313" defTabSz="455613" eaLnBrk="0" hangingPunct="0">
              <a:defRPr>
                <a:solidFill>
                  <a:schemeClr val="tx1"/>
                </a:solidFill>
                <a:latin typeface="Arial" charset="0"/>
                <a:ea typeface="ヒラギノ角ゴ Pro W3" charset="0"/>
                <a:cs typeface="Arial" charset="0"/>
              </a:defRPr>
            </a:lvl1pPr>
            <a:lvl2pPr marL="742950" indent="-285750" defTabSz="455613" eaLnBrk="0" hangingPunct="0">
              <a:defRPr>
                <a:solidFill>
                  <a:schemeClr val="tx1"/>
                </a:solidFill>
                <a:latin typeface="Arial" charset="0"/>
                <a:ea typeface="Arial" charset="0"/>
                <a:cs typeface="Arial" charset="0"/>
              </a:defRPr>
            </a:lvl2pPr>
            <a:lvl3pPr marL="1143000" indent="-228600" defTabSz="455613" eaLnBrk="0" hangingPunct="0">
              <a:defRPr>
                <a:solidFill>
                  <a:schemeClr val="tx1"/>
                </a:solidFill>
                <a:latin typeface="Arial" charset="0"/>
                <a:ea typeface="Arial" charset="0"/>
                <a:cs typeface="Arial" charset="0"/>
              </a:defRPr>
            </a:lvl3pPr>
            <a:lvl4pPr marL="1600200" indent="-228600" defTabSz="455613" eaLnBrk="0" hangingPunct="0">
              <a:defRPr>
                <a:solidFill>
                  <a:schemeClr val="tx1"/>
                </a:solidFill>
                <a:latin typeface="Arial" charset="0"/>
                <a:ea typeface="Arial" charset="0"/>
                <a:cs typeface="Arial" charset="0"/>
              </a:defRPr>
            </a:lvl4pPr>
            <a:lvl5pPr marL="2057400" indent="-228600" defTabSz="455613" eaLnBrk="0" hangingPunct="0">
              <a:defRPr>
                <a:solidFill>
                  <a:schemeClr val="tx1"/>
                </a:solidFill>
                <a:latin typeface="Arial" charset="0"/>
                <a:ea typeface="Arial" charset="0"/>
                <a:cs typeface="Arial" charset="0"/>
              </a:defRPr>
            </a:lvl5pPr>
            <a:lvl6pPr marL="2514600" indent="-228600" defTabSz="455613"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455613"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455613"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455613" eaLnBrk="0" fontAlgn="base" hangingPunct="0">
              <a:spcBef>
                <a:spcPct val="0"/>
              </a:spcBef>
              <a:spcAft>
                <a:spcPct val="0"/>
              </a:spcAft>
              <a:defRPr>
                <a:solidFill>
                  <a:schemeClr val="tx1"/>
                </a:solidFill>
                <a:latin typeface="Arial" charset="0"/>
                <a:ea typeface="Arial" charset="0"/>
                <a:cs typeface="Arial" charset="0"/>
              </a:defRPr>
            </a:lvl9pPr>
          </a:lstStyle>
          <a:p>
            <a:pPr algn="r" eaLnBrk="1" fontAlgn="auto" hangingPunct="1">
              <a:spcBef>
                <a:spcPct val="20000"/>
              </a:spcBef>
              <a:spcAft>
                <a:spcPts val="0"/>
              </a:spcAft>
              <a:buFont typeface="Arial" charset="0"/>
              <a:buNone/>
            </a:pPr>
            <a:fld id="{6B5C66F0-617C-D144-9C1C-18DB1A840B46}" type="slidenum">
              <a:rPr lang="en-US" sz="1000" smtClean="0">
                <a:solidFill>
                  <a:srgbClr val="FFFFFF"/>
                </a:solidFill>
                <a:ea typeface="ＭＳ Ｐゴシック" charset="0"/>
                <a:cs typeface="ＭＳ Ｐゴシック" charset="0"/>
                <a:sym typeface="Arial" charset="0"/>
              </a:rPr>
              <a:pPr algn="r" eaLnBrk="1" fontAlgn="auto" hangingPunct="1">
                <a:spcBef>
                  <a:spcPct val="20000"/>
                </a:spcBef>
                <a:spcAft>
                  <a:spcPts val="0"/>
                </a:spcAft>
                <a:buFont typeface="Arial" charset="0"/>
                <a:buNone/>
              </a:pPr>
              <a:t>‹#›</a:t>
            </a:fld>
            <a:endParaRPr lang="en-US" sz="1000">
              <a:solidFill>
                <a:srgbClr val="FFFFFF"/>
              </a:solidFill>
              <a:ea typeface="ＭＳ Ｐゴシック" charset="0"/>
              <a:cs typeface="ＭＳ Ｐゴシック" charset="0"/>
              <a:sym typeface="Arial" charset="0"/>
            </a:endParaRPr>
          </a:p>
        </p:txBody>
      </p:sp>
      <p:pic>
        <p:nvPicPr>
          <p:cNvPr id="15" name="Picture 11" descr="jnj_SupplyChain_logo_horizontal_White.pdf"/>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94823" y="7691357"/>
            <a:ext cx="2682392" cy="470752"/>
          </a:xfrm>
          <a:prstGeom prst="rect">
            <a:avLst/>
          </a:prstGeom>
          <a:noFill/>
          <a:ln w="9525">
            <a:noFill/>
            <a:miter lim="800000"/>
            <a:headEnd/>
            <a:tailEnd/>
          </a:ln>
        </p:spPr>
      </p:pic>
    </p:spTree>
    <p:extLst>
      <p:ext uri="{BB962C8B-B14F-4D97-AF65-F5344CB8AC3E}">
        <p14:creationId xmlns:p14="http://schemas.microsoft.com/office/powerpoint/2010/main" val="3579267379"/>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Lst>
  <p:transition>
    <p:fade/>
  </p:transition>
  <p:hf hdr="0" ftr="0" dt="0"/>
  <p:txStyles>
    <p:titleStyle>
      <a:lvl1pPr algn="l" rtl="0" eaLnBrk="0" fontAlgn="base" hangingPunct="0">
        <a:spcBef>
          <a:spcPct val="0"/>
        </a:spcBef>
        <a:spcAft>
          <a:spcPct val="0"/>
        </a:spcAft>
        <a:defRPr sz="3600" b="0" i="0" u="none">
          <a:solidFill>
            <a:schemeClr val="tx1"/>
          </a:solidFill>
          <a:latin typeface="Georgia" panose="02040502050405020303" pitchFamily="18" charset="0"/>
          <a:ea typeface="ＭＳ Ｐゴシック" charset="0"/>
          <a:cs typeface="Arial"/>
          <a:sym typeface="Arial" charset="0"/>
        </a:defRPr>
      </a:lvl1pPr>
      <a:lvl2pPr algn="l" rtl="0" eaLnBrk="0" fontAlgn="base" hangingPunct="0">
        <a:spcBef>
          <a:spcPct val="0"/>
        </a:spcBef>
        <a:spcAft>
          <a:spcPct val="0"/>
        </a:spcAft>
        <a:defRPr sz="4600">
          <a:solidFill>
            <a:schemeClr val="tx2"/>
          </a:solidFill>
          <a:latin typeface="Georgia" pitchFamily="-111" charset="0"/>
          <a:ea typeface="ＭＳ Ｐゴシック" charset="0"/>
          <a:cs typeface="Arial Unicode MS" pitchFamily="-65" charset="0"/>
          <a:sym typeface="Arial" charset="0"/>
        </a:defRPr>
      </a:lvl2pPr>
      <a:lvl3pPr algn="l" rtl="0" eaLnBrk="0" fontAlgn="base" hangingPunct="0">
        <a:spcBef>
          <a:spcPct val="0"/>
        </a:spcBef>
        <a:spcAft>
          <a:spcPct val="0"/>
        </a:spcAft>
        <a:defRPr sz="4600">
          <a:solidFill>
            <a:schemeClr val="tx2"/>
          </a:solidFill>
          <a:latin typeface="Georgia" pitchFamily="-111" charset="0"/>
          <a:ea typeface="ＭＳ Ｐゴシック" charset="0"/>
          <a:cs typeface="Arial Unicode MS" pitchFamily="-65" charset="0"/>
          <a:sym typeface="Arial" charset="0"/>
        </a:defRPr>
      </a:lvl3pPr>
      <a:lvl4pPr algn="l" rtl="0" eaLnBrk="0" fontAlgn="base" hangingPunct="0">
        <a:spcBef>
          <a:spcPct val="0"/>
        </a:spcBef>
        <a:spcAft>
          <a:spcPct val="0"/>
        </a:spcAft>
        <a:defRPr sz="4600">
          <a:solidFill>
            <a:schemeClr val="tx2"/>
          </a:solidFill>
          <a:latin typeface="Georgia" pitchFamily="-111" charset="0"/>
          <a:ea typeface="ＭＳ Ｐゴシック" charset="0"/>
          <a:cs typeface="Arial Unicode MS" pitchFamily="-65" charset="0"/>
          <a:sym typeface="Arial" charset="0"/>
        </a:defRPr>
      </a:lvl4pPr>
      <a:lvl5pPr algn="l" rtl="0" eaLnBrk="0" fontAlgn="base" hangingPunct="0">
        <a:spcBef>
          <a:spcPct val="0"/>
        </a:spcBef>
        <a:spcAft>
          <a:spcPct val="0"/>
        </a:spcAft>
        <a:defRPr sz="4600">
          <a:solidFill>
            <a:schemeClr val="tx2"/>
          </a:solidFill>
          <a:latin typeface="Georgia" pitchFamily="-111" charset="0"/>
          <a:ea typeface="ＭＳ Ｐゴシック" charset="0"/>
          <a:cs typeface="Arial Unicode MS" pitchFamily="-65" charset="0"/>
          <a:sym typeface="Arial" charset="0"/>
        </a:defRPr>
      </a:lvl5pPr>
      <a:lvl6pPr marL="409058" algn="l" rtl="0" fontAlgn="base">
        <a:spcBef>
          <a:spcPct val="0"/>
        </a:spcBef>
        <a:spcAft>
          <a:spcPct val="0"/>
        </a:spcAft>
        <a:defRPr sz="37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818115" algn="l" rtl="0" fontAlgn="base">
        <a:spcBef>
          <a:spcPct val="0"/>
        </a:spcBef>
        <a:spcAft>
          <a:spcPct val="0"/>
        </a:spcAft>
        <a:defRPr sz="37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227007" algn="l" rtl="0" fontAlgn="base">
        <a:spcBef>
          <a:spcPct val="0"/>
        </a:spcBef>
        <a:spcAft>
          <a:spcPct val="0"/>
        </a:spcAft>
        <a:defRPr sz="37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635982" algn="l" rtl="0" fontAlgn="base">
        <a:spcBef>
          <a:spcPct val="0"/>
        </a:spcBef>
        <a:spcAft>
          <a:spcPct val="0"/>
        </a:spcAft>
        <a:defRPr sz="37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344001" indent="-344001" algn="l" rtl="0" eaLnBrk="0" fontAlgn="base" hangingPunct="0">
        <a:spcBef>
          <a:spcPts val="600"/>
        </a:spcBef>
        <a:spcAft>
          <a:spcPct val="0"/>
        </a:spcAft>
        <a:buClr>
          <a:schemeClr val="accent1"/>
        </a:buClr>
        <a:buSzPct val="100000"/>
        <a:buFont typeface="Arial" charset="0"/>
        <a:buChar char="•"/>
        <a:defRPr sz="3000">
          <a:solidFill>
            <a:schemeClr val="tx1"/>
          </a:solidFill>
          <a:latin typeface="Arial" panose="020B0604020202020204" pitchFamily="34" charset="0"/>
          <a:ea typeface="ＭＳ Ｐゴシック" charset="0"/>
          <a:cs typeface="Arial" panose="020B0604020202020204" pitchFamily="34" charset="0"/>
          <a:sym typeface="Arial" charset="0"/>
        </a:defRPr>
      </a:lvl1pPr>
      <a:lvl2pPr marL="908885" indent="-344001" algn="l" rtl="0" eaLnBrk="0" fontAlgn="base" hangingPunct="0">
        <a:spcBef>
          <a:spcPts val="600"/>
        </a:spcBef>
        <a:spcAft>
          <a:spcPct val="0"/>
        </a:spcAft>
        <a:buClr>
          <a:schemeClr val="accent1"/>
        </a:buClr>
        <a:buSzPct val="100000"/>
        <a:buFont typeface="Arial" charset="0"/>
        <a:buChar char="–"/>
        <a:defRPr sz="2600">
          <a:solidFill>
            <a:schemeClr val="tx1"/>
          </a:solidFill>
          <a:latin typeface="Arial" panose="020B0604020202020204" pitchFamily="34" charset="0"/>
          <a:ea typeface="Arial Unicode MS" pitchFamily="-65" charset="0"/>
          <a:cs typeface="Arial" panose="020B0604020202020204" pitchFamily="34" charset="0"/>
          <a:sym typeface="Arial" charset="0"/>
        </a:defRPr>
      </a:lvl2pPr>
      <a:lvl3pPr marL="1363322" indent="-344001" algn="l" rtl="0" eaLnBrk="0" fontAlgn="base" hangingPunct="0">
        <a:spcBef>
          <a:spcPts val="600"/>
        </a:spcBef>
        <a:spcAft>
          <a:spcPct val="0"/>
        </a:spcAft>
        <a:buClr>
          <a:schemeClr val="accent1"/>
        </a:buClr>
        <a:buSzPct val="100000"/>
        <a:buFont typeface="Arial" charset="0"/>
        <a:buChar char="•"/>
        <a:defRPr sz="2000">
          <a:solidFill>
            <a:schemeClr val="tx1"/>
          </a:solidFill>
          <a:latin typeface="Arial" panose="020B0604020202020204" pitchFamily="34" charset="0"/>
          <a:ea typeface="Arial Unicode MS" pitchFamily="-65" charset="0"/>
          <a:cs typeface="Arial" panose="020B0604020202020204" pitchFamily="34" charset="0"/>
          <a:sym typeface="Arial" charset="0"/>
        </a:defRPr>
      </a:lvl3pPr>
      <a:lvl4pPr marL="1817835" indent="-344001" algn="l" rtl="0" eaLnBrk="0" fontAlgn="base" hangingPunct="0">
        <a:spcBef>
          <a:spcPts val="600"/>
        </a:spcBef>
        <a:spcAft>
          <a:spcPct val="0"/>
        </a:spcAft>
        <a:buClr>
          <a:schemeClr val="accent1"/>
        </a:buClr>
        <a:buSzPct val="100000"/>
        <a:buFont typeface="Arial" charset="0"/>
        <a:buChar char="–"/>
        <a:defRPr sz="2000">
          <a:solidFill>
            <a:schemeClr val="tx1"/>
          </a:solidFill>
          <a:latin typeface="Arial" panose="020B0604020202020204" pitchFamily="34" charset="0"/>
          <a:ea typeface="Arial Unicode MS" pitchFamily="-65" charset="0"/>
          <a:cs typeface="Arial" panose="020B0604020202020204" pitchFamily="34" charset="0"/>
          <a:sym typeface="Arial" charset="0"/>
        </a:defRPr>
      </a:lvl4pPr>
      <a:lvl5pPr marL="2272232" indent="-344001" algn="l" rtl="0" eaLnBrk="0" fontAlgn="base" hangingPunct="0">
        <a:spcBef>
          <a:spcPts val="600"/>
        </a:spcBef>
        <a:spcAft>
          <a:spcPct val="0"/>
        </a:spcAft>
        <a:buClr>
          <a:schemeClr val="accent1"/>
        </a:buClr>
        <a:buSzPct val="100000"/>
        <a:buFont typeface="Arial" charset="0"/>
        <a:buChar char="»"/>
        <a:defRPr sz="2000">
          <a:solidFill>
            <a:schemeClr val="tx1"/>
          </a:solidFill>
          <a:latin typeface="Arial" panose="020B0604020202020204" pitchFamily="34" charset="0"/>
          <a:ea typeface="Arial Unicode MS" pitchFamily="-65" charset="0"/>
          <a:cs typeface="Arial" panose="020B0604020202020204" pitchFamily="34" charset="0"/>
          <a:sym typeface="Arial" charset="0"/>
        </a:defRPr>
      </a:lvl5pPr>
      <a:lvl6pPr marL="2522145" indent="-272705" algn="l" rtl="0" fontAlgn="base">
        <a:spcBef>
          <a:spcPts val="541"/>
        </a:spcBef>
        <a:spcAft>
          <a:spcPct val="0"/>
        </a:spcAft>
        <a:buSzPct val="100000"/>
        <a:buFont typeface="Arial" pitchFamily="-110" charset="0"/>
        <a:buChar char="»"/>
        <a:defRPr sz="2400">
          <a:solidFill>
            <a:schemeClr val="tx1"/>
          </a:solidFill>
          <a:latin typeface="+mn-lt"/>
          <a:ea typeface="+mn-ea"/>
          <a:cs typeface="+mn-cs"/>
          <a:sym typeface="Arial" pitchFamily="-110" charset="0"/>
        </a:defRPr>
      </a:lvl6pPr>
      <a:lvl7pPr marL="2931159" indent="-272705" algn="l" rtl="0" fontAlgn="base">
        <a:spcBef>
          <a:spcPts val="541"/>
        </a:spcBef>
        <a:spcAft>
          <a:spcPct val="0"/>
        </a:spcAft>
        <a:buSzPct val="100000"/>
        <a:buFont typeface="Arial" pitchFamily="-110" charset="0"/>
        <a:buChar char="»"/>
        <a:defRPr sz="2400">
          <a:solidFill>
            <a:schemeClr val="tx1"/>
          </a:solidFill>
          <a:latin typeface="+mn-lt"/>
          <a:ea typeface="+mn-ea"/>
          <a:cs typeface="+mn-cs"/>
          <a:sym typeface="Arial" pitchFamily="-110" charset="0"/>
        </a:defRPr>
      </a:lvl7pPr>
      <a:lvl8pPr marL="3340176" indent="-272705" algn="l" rtl="0" fontAlgn="base">
        <a:spcBef>
          <a:spcPts val="541"/>
        </a:spcBef>
        <a:spcAft>
          <a:spcPct val="0"/>
        </a:spcAft>
        <a:buSzPct val="100000"/>
        <a:buFont typeface="Arial" pitchFamily="-110" charset="0"/>
        <a:buChar char="»"/>
        <a:defRPr sz="2400">
          <a:solidFill>
            <a:schemeClr val="tx1"/>
          </a:solidFill>
          <a:latin typeface="+mn-lt"/>
          <a:ea typeface="+mn-ea"/>
          <a:cs typeface="+mn-cs"/>
          <a:sym typeface="Arial" pitchFamily="-110" charset="0"/>
        </a:defRPr>
      </a:lvl8pPr>
      <a:lvl9pPr marL="3749168" indent="-272705" algn="l" rtl="0" fontAlgn="base">
        <a:spcBef>
          <a:spcPts val="541"/>
        </a:spcBef>
        <a:spcAft>
          <a:spcPct val="0"/>
        </a:spcAft>
        <a:buSzPct val="100000"/>
        <a:buFont typeface="Arial" pitchFamily="-110" charset="0"/>
        <a:buChar char="»"/>
        <a:defRPr sz="2400">
          <a:solidFill>
            <a:schemeClr val="tx1"/>
          </a:solidFill>
          <a:latin typeface="+mn-lt"/>
          <a:ea typeface="+mn-ea"/>
          <a:cs typeface="+mn-cs"/>
          <a:sym typeface="Arial" pitchFamily="-110" charset="0"/>
        </a:defRPr>
      </a:lvl9pPr>
    </p:bodyStyle>
    <p:otherStyle>
      <a:defPPr>
        <a:defRPr lang="en-US"/>
      </a:defPPr>
      <a:lvl1pPr marL="0" algn="l" defTabSz="409058" rtl="0" eaLnBrk="1" latinLnBrk="0" hangingPunct="1">
        <a:defRPr sz="1600" kern="1200">
          <a:solidFill>
            <a:schemeClr val="tx1"/>
          </a:solidFill>
          <a:latin typeface="+mn-lt"/>
          <a:ea typeface="+mn-ea"/>
          <a:cs typeface="+mn-cs"/>
        </a:defRPr>
      </a:lvl1pPr>
      <a:lvl2pPr marL="409058" algn="l" defTabSz="409058" rtl="0" eaLnBrk="1" latinLnBrk="0" hangingPunct="1">
        <a:defRPr sz="1600" kern="1200">
          <a:solidFill>
            <a:schemeClr val="tx1"/>
          </a:solidFill>
          <a:latin typeface="+mn-lt"/>
          <a:ea typeface="+mn-ea"/>
          <a:cs typeface="+mn-cs"/>
        </a:defRPr>
      </a:lvl2pPr>
      <a:lvl3pPr marL="818115" algn="l" defTabSz="409058" rtl="0" eaLnBrk="1" latinLnBrk="0" hangingPunct="1">
        <a:defRPr sz="1600" kern="1200">
          <a:solidFill>
            <a:schemeClr val="tx1"/>
          </a:solidFill>
          <a:latin typeface="+mn-lt"/>
          <a:ea typeface="+mn-ea"/>
          <a:cs typeface="+mn-cs"/>
        </a:defRPr>
      </a:lvl3pPr>
      <a:lvl4pPr marL="1227007" algn="l" defTabSz="409058" rtl="0" eaLnBrk="1" latinLnBrk="0" hangingPunct="1">
        <a:defRPr sz="1600" kern="1200">
          <a:solidFill>
            <a:schemeClr val="tx1"/>
          </a:solidFill>
          <a:latin typeface="+mn-lt"/>
          <a:ea typeface="+mn-ea"/>
          <a:cs typeface="+mn-cs"/>
        </a:defRPr>
      </a:lvl4pPr>
      <a:lvl5pPr marL="1635982" algn="l" defTabSz="409058" rtl="0" eaLnBrk="1" latinLnBrk="0" hangingPunct="1">
        <a:defRPr sz="1600" kern="1200">
          <a:solidFill>
            <a:schemeClr val="tx1"/>
          </a:solidFill>
          <a:latin typeface="+mn-lt"/>
          <a:ea typeface="+mn-ea"/>
          <a:cs typeface="+mn-cs"/>
        </a:defRPr>
      </a:lvl5pPr>
      <a:lvl6pPr marL="2044981" algn="l" defTabSz="409058" rtl="0" eaLnBrk="1" latinLnBrk="0" hangingPunct="1">
        <a:defRPr sz="1600" kern="1200">
          <a:solidFill>
            <a:schemeClr val="tx1"/>
          </a:solidFill>
          <a:latin typeface="+mn-lt"/>
          <a:ea typeface="+mn-ea"/>
          <a:cs typeface="+mn-cs"/>
        </a:defRPr>
      </a:lvl6pPr>
      <a:lvl7pPr marL="2453999" algn="l" defTabSz="409058" rtl="0" eaLnBrk="1" latinLnBrk="0" hangingPunct="1">
        <a:defRPr sz="1600" kern="1200">
          <a:solidFill>
            <a:schemeClr val="tx1"/>
          </a:solidFill>
          <a:latin typeface="+mn-lt"/>
          <a:ea typeface="+mn-ea"/>
          <a:cs typeface="+mn-cs"/>
        </a:defRPr>
      </a:lvl7pPr>
      <a:lvl8pPr marL="2863008" algn="l" defTabSz="409058" rtl="0" eaLnBrk="1" latinLnBrk="0" hangingPunct="1">
        <a:defRPr sz="1600" kern="1200">
          <a:solidFill>
            <a:schemeClr val="tx1"/>
          </a:solidFill>
          <a:latin typeface="+mn-lt"/>
          <a:ea typeface="+mn-ea"/>
          <a:cs typeface="+mn-cs"/>
        </a:defRPr>
      </a:lvl8pPr>
      <a:lvl9pPr marL="3272002" algn="l" defTabSz="409058"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jnj_InformationTechnology_logo_horizontal_White.png"/>
          <p:cNvPicPr>
            <a:picLocks noChangeAspect="1"/>
          </p:cNvPicPr>
          <p:nvPr userDrawn="1"/>
        </p:nvPicPr>
        <p:blipFill>
          <a:blip r:embed="rId8"/>
          <a:stretch>
            <a:fillRect/>
          </a:stretch>
        </p:blipFill>
        <p:spPr>
          <a:xfrm>
            <a:off x="148101" y="7884296"/>
            <a:ext cx="3292309" cy="256032"/>
          </a:xfrm>
          <a:prstGeom prst="rect">
            <a:avLst/>
          </a:prstGeom>
        </p:spPr>
      </p:pic>
      <p:sp>
        <p:nvSpPr>
          <p:cNvPr id="9220" name="Rectangle 2"/>
          <p:cNvSpPr>
            <a:spLocks noGrp="1" noChangeArrowheads="1"/>
          </p:cNvSpPr>
          <p:nvPr>
            <p:ph type="body" idx="1"/>
          </p:nvPr>
        </p:nvSpPr>
        <p:spPr bwMode="auto">
          <a:xfrm>
            <a:off x="685800" y="1828800"/>
            <a:ext cx="13258800" cy="548640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 name="TextBox 8"/>
          <p:cNvSpPr txBox="1"/>
          <p:nvPr userDrawn="1"/>
        </p:nvSpPr>
        <p:spPr>
          <a:xfrm>
            <a:off x="14173200" y="7772400"/>
            <a:ext cx="347472" cy="457200"/>
          </a:xfrm>
          <a:prstGeom prst="rect">
            <a:avLst/>
          </a:prstGeom>
          <a:noFill/>
        </p:spPr>
        <p:txBody>
          <a:bodyPr wrap="square" lIns="76810" tIns="38405" rIns="76810" bIns="38405" rtlCol="0" anchor="ctr" anchorCtr="0">
            <a:noAutofit/>
          </a:bodyPr>
          <a:lstStyle/>
          <a:p>
            <a:pPr algn="r" defTabSz="613410" fontAlgn="base">
              <a:spcBef>
                <a:spcPct val="50000"/>
              </a:spcBef>
              <a:spcAft>
                <a:spcPct val="0"/>
              </a:spcAft>
            </a:pPr>
            <a:fld id="{E1F65839-B8CA-4A99-A9DF-8EAD1442056E}" type="slidenum">
              <a:rPr lang="en-US" sz="720" smtClean="0">
                <a:solidFill>
                  <a:srgbClr val="FFFFFF"/>
                </a:solidFill>
                <a:ea typeface="Arial Unicode MS" pitchFamily="-65" charset="0"/>
                <a:cs typeface="Arial Unicode MS" pitchFamily="-65" charset="0"/>
              </a:rPr>
              <a:pPr algn="r" defTabSz="613410" fontAlgn="base">
                <a:spcBef>
                  <a:spcPct val="50000"/>
                </a:spcBef>
                <a:spcAft>
                  <a:spcPct val="0"/>
                </a:spcAft>
              </a:pPr>
              <a:t>‹#›</a:t>
            </a:fld>
            <a:endParaRPr lang="en-US" sz="720" dirty="0">
              <a:solidFill>
                <a:srgbClr val="FFFFFF"/>
              </a:solidFill>
              <a:ea typeface="Arial Unicode MS" pitchFamily="-65" charset="0"/>
              <a:cs typeface="Arial Unicode MS" pitchFamily="-65" charset="0"/>
            </a:endParaRPr>
          </a:p>
        </p:txBody>
      </p:sp>
      <p:pic>
        <p:nvPicPr>
          <p:cNvPr id="3" name="Picture 2" descr="A close up of a logo&#10;&#10;Description generated with very high confidence">
            <a:extLst>
              <a:ext uri="{FF2B5EF4-FFF2-40B4-BE49-F238E27FC236}">
                <a16:creationId xmlns:a16="http://schemas.microsoft.com/office/drawing/2014/main" id="{F32E1237-2777-4F9F-AD07-E7BD978E8D9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041648" y="7734163"/>
            <a:ext cx="2902952" cy="427069"/>
          </a:xfrm>
          <a:prstGeom prst="rect">
            <a:avLst/>
          </a:prstGeom>
        </p:spPr>
      </p:pic>
      <p:pic>
        <p:nvPicPr>
          <p:cNvPr id="11" name="Picture 10">
            <a:extLst>
              <a:ext uri="{FF2B5EF4-FFF2-40B4-BE49-F238E27FC236}">
                <a16:creationId xmlns:a16="http://schemas.microsoft.com/office/drawing/2014/main" id="{7D9736E9-E01B-47E7-AA96-288DFF077D41}"/>
              </a:ext>
              <a:ext uri="{C183D7F6-B498-43B3-948B-1728B52AA6E4}">
                <adec:decorative xmlns:adec="http://schemas.microsoft.com/office/drawing/2017/decorative" val="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5800" y="7706866"/>
            <a:ext cx="1606978" cy="294134"/>
          </a:xfrm>
          <a:prstGeom prst="rect">
            <a:avLst/>
          </a:prstGeom>
        </p:spPr>
      </p:pic>
      <p:sp>
        <p:nvSpPr>
          <p:cNvPr id="12" name="Slide Number Placeholder 5">
            <a:extLst>
              <a:ext uri="{FF2B5EF4-FFF2-40B4-BE49-F238E27FC236}">
                <a16:creationId xmlns:a16="http://schemas.microsoft.com/office/drawing/2014/main" id="{1589D147-700F-4F15-BB96-8BA3F557D8A1}"/>
              </a:ext>
            </a:extLst>
          </p:cNvPr>
          <p:cNvSpPr>
            <a:spLocks noGrp="1"/>
          </p:cNvSpPr>
          <p:nvPr>
            <p:ph type="sldNum" sz="quarter" idx="4"/>
          </p:nvPr>
        </p:nvSpPr>
        <p:spPr>
          <a:xfrm>
            <a:off x="14035208" y="7613903"/>
            <a:ext cx="485464" cy="480060"/>
          </a:xfrm>
          <a:prstGeom prst="rect">
            <a:avLst/>
          </a:prstGeom>
        </p:spPr>
        <p:txBody>
          <a:bodyPr vert="horz" lIns="91440" tIns="45720" rIns="91440" bIns="45720" rtlCol="0" anchor="ctr"/>
          <a:lstStyle>
            <a:lvl1pPr algn="r">
              <a:defRPr sz="1152">
                <a:solidFill>
                  <a:srgbClr val="C8102E"/>
                </a:solidFill>
              </a:defRPr>
            </a:lvl1pPr>
          </a:lstStyle>
          <a:p>
            <a:fld id="{AD816501-AAE5-214E-B100-00C3DC5F5E3F}" type="slidenum">
              <a:rPr lang="en-US" smtClean="0"/>
              <a:pPr/>
              <a:t>‹#›</a:t>
            </a:fld>
            <a:endParaRPr lang="en-US" dirty="0"/>
          </a:p>
        </p:txBody>
      </p:sp>
      <p:sp>
        <p:nvSpPr>
          <p:cNvPr id="13" name="Rectangle 1">
            <a:extLst>
              <a:ext uri="{FF2B5EF4-FFF2-40B4-BE49-F238E27FC236}">
                <a16:creationId xmlns:a16="http://schemas.microsoft.com/office/drawing/2014/main" id="{B81ABC71-9960-4A10-B029-77821C7D7345}"/>
              </a:ext>
            </a:extLst>
          </p:cNvPr>
          <p:cNvSpPr>
            <a:spLocks noGrp="1" noChangeArrowheads="1"/>
          </p:cNvSpPr>
          <p:nvPr>
            <p:ph type="title"/>
          </p:nvPr>
        </p:nvSpPr>
        <p:spPr bwMode="auto">
          <a:xfrm>
            <a:off x="685800" y="578842"/>
            <a:ext cx="12102499" cy="590932"/>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Tree>
    <p:extLst>
      <p:ext uri="{BB962C8B-B14F-4D97-AF65-F5344CB8AC3E}">
        <p14:creationId xmlns:p14="http://schemas.microsoft.com/office/powerpoint/2010/main" val="1032252960"/>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Lst>
  <p:transition>
    <p:fade/>
  </p:transition>
  <p:hf hdr="0" ftr="0" dt="0"/>
  <p:txStyles>
    <p:titleStyle>
      <a:lvl1pPr algn="l" rtl="0" eaLnBrk="0" fontAlgn="base" hangingPunct="0">
        <a:lnSpc>
          <a:spcPct val="100000"/>
        </a:lnSpc>
        <a:spcBef>
          <a:spcPct val="0"/>
        </a:spcBef>
        <a:spcAft>
          <a:spcPct val="0"/>
        </a:spcAft>
        <a:defRPr sz="3840">
          <a:solidFill>
            <a:schemeClr val="tx2"/>
          </a:solidFill>
          <a:latin typeface="Georgia"/>
          <a:ea typeface="Arial Unicode MS" pitchFamily="-65" charset="0"/>
          <a:cs typeface="Arial Unicode MS" pitchFamily="-65" charset="0"/>
          <a:sym typeface="Arial" pitchFamily="-65" charset="0"/>
        </a:defRPr>
      </a:lvl1pPr>
      <a:lvl2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43"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86"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930"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73"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91876" indent="-291876" algn="l" rtl="0" eaLnBrk="0" fontAlgn="base" hangingPunct="0">
        <a:spcBef>
          <a:spcPts val="504"/>
        </a:spcBef>
        <a:spcAft>
          <a:spcPct val="0"/>
        </a:spcAft>
        <a:buSzPct val="100000"/>
        <a:buFont typeface="Arial" pitchFamily="-65" charset="0"/>
        <a:buChar char="•"/>
        <a:defRPr sz="2520">
          <a:solidFill>
            <a:srgbClr val="595959"/>
          </a:solidFill>
          <a:latin typeface="+mn-lt"/>
          <a:ea typeface="Arial Unicode MS" pitchFamily="-65" charset="0"/>
          <a:cs typeface="Arial Unicode MS" pitchFamily="-65" charset="0"/>
          <a:sym typeface="Arial" pitchFamily="-65" charset="0"/>
        </a:defRPr>
      </a:lvl1pPr>
      <a:lvl2pPr marL="768096" indent="-291876" algn="l" rtl="0" eaLnBrk="0" fontAlgn="base" hangingPunct="0">
        <a:spcBef>
          <a:spcPts val="504"/>
        </a:spcBef>
        <a:spcAft>
          <a:spcPct val="0"/>
        </a:spcAft>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2pPr>
      <a:lvl3pPr marL="1152144"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3pPr>
      <a:lvl4pPr marL="1536192"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4pPr>
      <a:lvl5pPr marL="1920240"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5pPr>
      <a:lvl6pPr marL="2131468"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43" rtl="0" eaLnBrk="1" latinLnBrk="0" hangingPunct="1">
        <a:defRPr sz="1320" kern="1200">
          <a:solidFill>
            <a:schemeClr val="tx1"/>
          </a:solidFill>
          <a:latin typeface="+mn-lt"/>
          <a:ea typeface="+mn-ea"/>
          <a:cs typeface="+mn-cs"/>
        </a:defRPr>
      </a:lvl1pPr>
      <a:lvl2pPr marL="345643" algn="l" defTabSz="345643" rtl="0" eaLnBrk="1" latinLnBrk="0" hangingPunct="1">
        <a:defRPr sz="1320" kern="1200">
          <a:solidFill>
            <a:schemeClr val="tx1"/>
          </a:solidFill>
          <a:latin typeface="+mn-lt"/>
          <a:ea typeface="+mn-ea"/>
          <a:cs typeface="+mn-cs"/>
        </a:defRPr>
      </a:lvl2pPr>
      <a:lvl3pPr marL="691286" algn="l" defTabSz="345643" rtl="0" eaLnBrk="1" latinLnBrk="0" hangingPunct="1">
        <a:defRPr sz="1320" kern="1200">
          <a:solidFill>
            <a:schemeClr val="tx1"/>
          </a:solidFill>
          <a:latin typeface="+mn-lt"/>
          <a:ea typeface="+mn-ea"/>
          <a:cs typeface="+mn-cs"/>
        </a:defRPr>
      </a:lvl3pPr>
      <a:lvl4pPr marL="1036930" algn="l" defTabSz="345643" rtl="0" eaLnBrk="1" latinLnBrk="0" hangingPunct="1">
        <a:defRPr sz="1320" kern="1200">
          <a:solidFill>
            <a:schemeClr val="tx1"/>
          </a:solidFill>
          <a:latin typeface="+mn-lt"/>
          <a:ea typeface="+mn-ea"/>
          <a:cs typeface="+mn-cs"/>
        </a:defRPr>
      </a:lvl4pPr>
      <a:lvl5pPr marL="1382573" algn="l" defTabSz="345643" rtl="0" eaLnBrk="1" latinLnBrk="0" hangingPunct="1">
        <a:defRPr sz="1320" kern="1200">
          <a:solidFill>
            <a:schemeClr val="tx1"/>
          </a:solidFill>
          <a:latin typeface="+mn-lt"/>
          <a:ea typeface="+mn-ea"/>
          <a:cs typeface="+mn-cs"/>
        </a:defRPr>
      </a:lvl5pPr>
      <a:lvl6pPr marL="1728216" algn="l" defTabSz="345643" rtl="0" eaLnBrk="1" latinLnBrk="0" hangingPunct="1">
        <a:defRPr sz="1320" kern="1200">
          <a:solidFill>
            <a:schemeClr val="tx1"/>
          </a:solidFill>
          <a:latin typeface="+mn-lt"/>
          <a:ea typeface="+mn-ea"/>
          <a:cs typeface="+mn-cs"/>
        </a:defRPr>
      </a:lvl6pPr>
      <a:lvl7pPr marL="2073859" algn="l" defTabSz="345643" rtl="0" eaLnBrk="1" latinLnBrk="0" hangingPunct="1">
        <a:defRPr sz="1320" kern="1200">
          <a:solidFill>
            <a:schemeClr val="tx1"/>
          </a:solidFill>
          <a:latin typeface="+mn-lt"/>
          <a:ea typeface="+mn-ea"/>
          <a:cs typeface="+mn-cs"/>
        </a:defRPr>
      </a:lvl7pPr>
      <a:lvl8pPr marL="2419502" algn="l" defTabSz="345643" rtl="0" eaLnBrk="1" latinLnBrk="0" hangingPunct="1">
        <a:defRPr sz="1320" kern="1200">
          <a:solidFill>
            <a:schemeClr val="tx1"/>
          </a:solidFill>
          <a:latin typeface="+mn-lt"/>
          <a:ea typeface="+mn-ea"/>
          <a:cs typeface="+mn-cs"/>
        </a:defRPr>
      </a:lvl8pPr>
      <a:lvl9pPr marL="2765146" algn="l" defTabSz="345643" rtl="0" eaLnBrk="1" latinLnBrk="0" hangingPunct="1">
        <a:defRPr sz="13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7772400"/>
            <a:ext cx="14630400" cy="457200"/>
          </a:xfrm>
          <a:prstGeom prst="rect">
            <a:avLst/>
          </a:prstGeom>
          <a:solidFill>
            <a:srgbClr val="F30617"/>
          </a:solidFill>
          <a:ln>
            <a:noFill/>
          </a:ln>
          <a:effectLst/>
        </p:spPr>
        <p:style>
          <a:lnRef idx="1">
            <a:schemeClr val="accent1"/>
          </a:lnRef>
          <a:fillRef idx="3">
            <a:schemeClr val="accent1"/>
          </a:fillRef>
          <a:effectRef idx="2">
            <a:schemeClr val="accent1"/>
          </a:effectRef>
          <a:fontRef idx="minor">
            <a:schemeClr val="lt1"/>
          </a:fontRef>
        </p:style>
        <p:txBody>
          <a:bodyPr lIns="76810" tIns="38405" rIns="76810" bIns="38405" anchor="ctr">
            <a:prstTxWarp prst="textNoShape">
              <a:avLst/>
            </a:prstTxWarp>
          </a:bodyPr>
          <a:lstStyle/>
          <a:p>
            <a:pPr algn="ctr" defTabSz="613410" fontAlgn="base">
              <a:spcBef>
                <a:spcPct val="0"/>
              </a:spcBef>
              <a:spcAft>
                <a:spcPct val="0"/>
              </a:spcAft>
              <a:defRPr/>
            </a:pPr>
            <a:endParaRPr lang="en-US" sz="2400" dirty="0">
              <a:solidFill>
                <a:srgbClr val="FFFFFF"/>
              </a:solidFill>
            </a:endParaRPr>
          </a:p>
        </p:txBody>
      </p:sp>
      <p:pic>
        <p:nvPicPr>
          <p:cNvPr id="7" name="Picture 6" descr="jnj_InformationTechnology_logo_horizontal_White.png"/>
          <p:cNvPicPr>
            <a:picLocks noChangeAspect="1"/>
          </p:cNvPicPr>
          <p:nvPr userDrawn="1"/>
        </p:nvPicPr>
        <p:blipFill>
          <a:blip r:embed="rId7"/>
          <a:stretch>
            <a:fillRect/>
          </a:stretch>
        </p:blipFill>
        <p:spPr>
          <a:xfrm>
            <a:off x="228604" y="7872413"/>
            <a:ext cx="3292309" cy="256032"/>
          </a:xfrm>
          <a:prstGeom prst="rect">
            <a:avLst/>
          </a:prstGeom>
        </p:spPr>
      </p:pic>
      <p:sp>
        <p:nvSpPr>
          <p:cNvPr id="9219" name="Rectangle 1"/>
          <p:cNvSpPr>
            <a:spLocks noGrp="1" noChangeArrowheads="1"/>
          </p:cNvSpPr>
          <p:nvPr>
            <p:ph type="title"/>
          </p:nvPr>
        </p:nvSpPr>
        <p:spPr bwMode="auto">
          <a:xfrm>
            <a:off x="685800" y="457200"/>
            <a:ext cx="13258800" cy="137160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sym typeface="Arial" pitchFamily="-65" charset="0"/>
              </a:rPr>
              <a:t>Click to edit Master title style</a:t>
            </a:r>
          </a:p>
        </p:txBody>
      </p:sp>
      <p:sp>
        <p:nvSpPr>
          <p:cNvPr id="9220" name="Rectangle 2"/>
          <p:cNvSpPr>
            <a:spLocks noGrp="1" noChangeArrowheads="1"/>
          </p:cNvSpPr>
          <p:nvPr>
            <p:ph type="body" idx="1"/>
          </p:nvPr>
        </p:nvSpPr>
        <p:spPr bwMode="auto">
          <a:xfrm>
            <a:off x="685800" y="1828800"/>
            <a:ext cx="13258800" cy="548640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 name="TextBox 8"/>
          <p:cNvSpPr txBox="1"/>
          <p:nvPr userDrawn="1"/>
        </p:nvSpPr>
        <p:spPr>
          <a:xfrm>
            <a:off x="14173200" y="7772400"/>
            <a:ext cx="347472" cy="457200"/>
          </a:xfrm>
          <a:prstGeom prst="rect">
            <a:avLst/>
          </a:prstGeom>
          <a:noFill/>
        </p:spPr>
        <p:txBody>
          <a:bodyPr wrap="square" lIns="76810" tIns="38405" rIns="76810" bIns="38405" rtlCol="0" anchor="ctr" anchorCtr="0">
            <a:noAutofit/>
          </a:bodyPr>
          <a:lstStyle/>
          <a:p>
            <a:pPr algn="r" defTabSz="613410" fontAlgn="base">
              <a:spcBef>
                <a:spcPct val="50000"/>
              </a:spcBef>
              <a:spcAft>
                <a:spcPct val="0"/>
              </a:spcAft>
            </a:pPr>
            <a:fld id="{E1F65839-B8CA-4A99-A9DF-8EAD1442056E}" type="slidenum">
              <a:rPr lang="en-US" sz="720" smtClean="0">
                <a:solidFill>
                  <a:srgbClr val="FFFFFF"/>
                </a:solidFill>
                <a:ea typeface="Arial Unicode MS" pitchFamily="-65" charset="0"/>
                <a:cs typeface="Arial Unicode MS" pitchFamily="-65" charset="0"/>
              </a:rPr>
              <a:pPr algn="r" defTabSz="613410" fontAlgn="base">
                <a:spcBef>
                  <a:spcPct val="50000"/>
                </a:spcBef>
                <a:spcAft>
                  <a:spcPct val="0"/>
                </a:spcAft>
              </a:pPr>
              <a:t>‹#›</a:t>
            </a:fld>
            <a:endParaRPr lang="en-US" sz="720" dirty="0">
              <a:solidFill>
                <a:srgbClr val="FFFFFF"/>
              </a:solidFill>
              <a:ea typeface="Arial Unicode MS" pitchFamily="-65" charset="0"/>
              <a:cs typeface="Arial Unicode MS" pitchFamily="-65" charset="0"/>
            </a:endParaRPr>
          </a:p>
        </p:txBody>
      </p:sp>
      <p:sp>
        <p:nvSpPr>
          <p:cNvPr id="10" name="TextBox 9"/>
          <p:cNvSpPr txBox="1"/>
          <p:nvPr userDrawn="1"/>
        </p:nvSpPr>
        <p:spPr>
          <a:xfrm>
            <a:off x="9144000" y="7906820"/>
            <a:ext cx="5029200" cy="188360"/>
          </a:xfrm>
          <a:prstGeom prst="rect">
            <a:avLst/>
          </a:prstGeom>
          <a:noFill/>
        </p:spPr>
        <p:txBody>
          <a:bodyPr wrap="square" lIns="76810" tIns="38405" rIns="76810" bIns="38405" rtlCol="0" anchor="ctr">
            <a:spAutoFit/>
          </a:bodyPr>
          <a:lstStyle/>
          <a:p>
            <a:pPr algn="r" defTabSz="768096" fontAlgn="base">
              <a:spcBef>
                <a:spcPct val="50000"/>
              </a:spcBef>
              <a:spcAft>
                <a:spcPct val="0"/>
              </a:spcAft>
              <a:defRPr/>
            </a:pPr>
            <a:r>
              <a:rPr lang="en-US" sz="720" dirty="0">
                <a:solidFill>
                  <a:srgbClr val="FFFFFF"/>
                </a:solidFill>
                <a:ea typeface="ＭＳ Ｐゴシック" pitchFamily="34" charset="-128"/>
                <a:cs typeface="Arial Unicode MS" pitchFamily="-65" charset="0"/>
              </a:rPr>
              <a:t>CONFIDENTIAL  |  DOCUMENT USE IN ACCORDANCE WITH COMPANY POLICIES</a:t>
            </a:r>
          </a:p>
        </p:txBody>
      </p:sp>
      <p:grpSp>
        <p:nvGrpSpPr>
          <p:cNvPr id="8" name="Group 7"/>
          <p:cNvGrpSpPr/>
          <p:nvPr userDrawn="1"/>
        </p:nvGrpSpPr>
        <p:grpSpPr>
          <a:xfrm>
            <a:off x="13289280" y="7351396"/>
            <a:ext cx="1341120" cy="295274"/>
            <a:chOff x="-1446157" y="1839612"/>
            <a:chExt cx="2324100" cy="561975"/>
          </a:xfrm>
          <a:solidFill>
            <a:schemeClr val="bg1"/>
          </a:solidFill>
        </p:grpSpPr>
        <p:pic>
          <p:nvPicPr>
            <p:cNvPr id="11" name="Picture 10" descr="CPI-icon-taglin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46157" y="1839612"/>
              <a:ext cx="2324100" cy="561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431131" y="2014136"/>
              <a:ext cx="354842" cy="212925"/>
            </a:xfrm>
            <a:prstGeom prst="rect">
              <a:avLst/>
            </a:prstGeom>
            <a:grp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97280" rtl="0" eaLnBrk="1" fontAlgn="base" latinLnBrk="0" hangingPunct="1">
                <a:lnSpc>
                  <a:spcPct val="100000"/>
                </a:lnSpc>
                <a:spcBef>
                  <a:spcPct val="0"/>
                </a:spcBef>
                <a:spcAft>
                  <a:spcPct val="0"/>
                </a:spcAft>
                <a:buClrTx/>
                <a:buSzTx/>
                <a:buFontTx/>
                <a:buNone/>
                <a:tabLst/>
              </a:pPr>
              <a:endParaRPr kumimoji="0" lang="nl-BE" sz="384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endParaRPr>
            </a:p>
          </p:txBody>
        </p:sp>
      </p:grpSp>
    </p:spTree>
    <p:extLst>
      <p:ext uri="{BB962C8B-B14F-4D97-AF65-F5344CB8AC3E}">
        <p14:creationId xmlns:p14="http://schemas.microsoft.com/office/powerpoint/2010/main" val="268771576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Lst>
  <p:transition>
    <p:fade/>
  </p:transition>
  <p:hf hdr="0" ftr="0" dt="0"/>
  <p:txStyles>
    <p:titleStyle>
      <a:lvl1pPr algn="l" rtl="0" eaLnBrk="0" fontAlgn="base" hangingPunct="0">
        <a:lnSpc>
          <a:spcPct val="100000"/>
        </a:lnSpc>
        <a:spcBef>
          <a:spcPct val="0"/>
        </a:spcBef>
        <a:spcAft>
          <a:spcPct val="0"/>
        </a:spcAft>
        <a:defRPr sz="3840">
          <a:solidFill>
            <a:schemeClr val="tx2"/>
          </a:solidFill>
          <a:latin typeface="Georgia"/>
          <a:ea typeface="Arial Unicode MS" pitchFamily="-65" charset="0"/>
          <a:cs typeface="Arial Unicode MS" pitchFamily="-65" charset="0"/>
          <a:sym typeface="Arial" pitchFamily="-65" charset="0"/>
        </a:defRPr>
      </a:lvl1pPr>
      <a:lvl2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0" fontAlgn="base" hangingPunct="0">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43"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86"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930"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73" algn="l" rtl="0" fontAlgn="base">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91876" indent="-291876" algn="l" rtl="0" eaLnBrk="0" fontAlgn="base" hangingPunct="0">
        <a:spcBef>
          <a:spcPts val="504"/>
        </a:spcBef>
        <a:spcAft>
          <a:spcPct val="0"/>
        </a:spcAft>
        <a:buSzPct val="100000"/>
        <a:buFont typeface="Arial" pitchFamily="-65" charset="0"/>
        <a:buChar char="•"/>
        <a:defRPr sz="2520">
          <a:solidFill>
            <a:srgbClr val="595959"/>
          </a:solidFill>
          <a:latin typeface="+mn-lt"/>
          <a:ea typeface="Arial Unicode MS" pitchFamily="-65" charset="0"/>
          <a:cs typeface="Arial Unicode MS" pitchFamily="-65" charset="0"/>
          <a:sym typeface="Arial" pitchFamily="-65" charset="0"/>
        </a:defRPr>
      </a:lvl1pPr>
      <a:lvl2pPr marL="768096" indent="-291876" algn="l" rtl="0" eaLnBrk="0" fontAlgn="base" hangingPunct="0">
        <a:spcBef>
          <a:spcPts val="504"/>
        </a:spcBef>
        <a:spcAft>
          <a:spcPct val="0"/>
        </a:spcAft>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2pPr>
      <a:lvl3pPr marL="1152144"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3pPr>
      <a:lvl4pPr marL="1536192"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4pPr>
      <a:lvl5pPr marL="1920240" indent="-291876" algn="l" rtl="0" eaLnBrk="0" fontAlgn="base" hangingPunct="0">
        <a:spcBef>
          <a:spcPts val="504"/>
        </a:spcBef>
        <a:spcAft>
          <a:spcPct val="0"/>
        </a:spcAft>
        <a:buSzPct val="100000"/>
        <a:buFont typeface="Arial" pitchFamily="-65" charset="0"/>
        <a:buChar char="»"/>
        <a:defRPr sz="1680">
          <a:solidFill>
            <a:srgbClr val="595959"/>
          </a:solidFill>
          <a:latin typeface="+mn-lt"/>
          <a:ea typeface="Arial Unicode MS" pitchFamily="-65" charset="0"/>
          <a:cs typeface="Arial Unicode MS" pitchFamily="-65" charset="0"/>
          <a:sym typeface="Arial" pitchFamily="-65" charset="0"/>
        </a:defRPr>
      </a:lvl5pPr>
      <a:lvl6pPr marL="2131468"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111"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754"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397" indent="-230429" algn="l" rtl="0" fontAlgn="base">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43" rtl="0" eaLnBrk="1" latinLnBrk="0" hangingPunct="1">
        <a:defRPr sz="1320" kern="1200">
          <a:solidFill>
            <a:schemeClr val="tx1"/>
          </a:solidFill>
          <a:latin typeface="+mn-lt"/>
          <a:ea typeface="+mn-ea"/>
          <a:cs typeface="+mn-cs"/>
        </a:defRPr>
      </a:lvl1pPr>
      <a:lvl2pPr marL="345643" algn="l" defTabSz="345643" rtl="0" eaLnBrk="1" latinLnBrk="0" hangingPunct="1">
        <a:defRPr sz="1320" kern="1200">
          <a:solidFill>
            <a:schemeClr val="tx1"/>
          </a:solidFill>
          <a:latin typeface="+mn-lt"/>
          <a:ea typeface="+mn-ea"/>
          <a:cs typeface="+mn-cs"/>
        </a:defRPr>
      </a:lvl2pPr>
      <a:lvl3pPr marL="691286" algn="l" defTabSz="345643" rtl="0" eaLnBrk="1" latinLnBrk="0" hangingPunct="1">
        <a:defRPr sz="1320" kern="1200">
          <a:solidFill>
            <a:schemeClr val="tx1"/>
          </a:solidFill>
          <a:latin typeface="+mn-lt"/>
          <a:ea typeface="+mn-ea"/>
          <a:cs typeface="+mn-cs"/>
        </a:defRPr>
      </a:lvl3pPr>
      <a:lvl4pPr marL="1036930" algn="l" defTabSz="345643" rtl="0" eaLnBrk="1" latinLnBrk="0" hangingPunct="1">
        <a:defRPr sz="1320" kern="1200">
          <a:solidFill>
            <a:schemeClr val="tx1"/>
          </a:solidFill>
          <a:latin typeface="+mn-lt"/>
          <a:ea typeface="+mn-ea"/>
          <a:cs typeface="+mn-cs"/>
        </a:defRPr>
      </a:lvl4pPr>
      <a:lvl5pPr marL="1382573" algn="l" defTabSz="345643" rtl="0" eaLnBrk="1" latinLnBrk="0" hangingPunct="1">
        <a:defRPr sz="1320" kern="1200">
          <a:solidFill>
            <a:schemeClr val="tx1"/>
          </a:solidFill>
          <a:latin typeface="+mn-lt"/>
          <a:ea typeface="+mn-ea"/>
          <a:cs typeface="+mn-cs"/>
        </a:defRPr>
      </a:lvl5pPr>
      <a:lvl6pPr marL="1728216" algn="l" defTabSz="345643" rtl="0" eaLnBrk="1" latinLnBrk="0" hangingPunct="1">
        <a:defRPr sz="1320" kern="1200">
          <a:solidFill>
            <a:schemeClr val="tx1"/>
          </a:solidFill>
          <a:latin typeface="+mn-lt"/>
          <a:ea typeface="+mn-ea"/>
          <a:cs typeface="+mn-cs"/>
        </a:defRPr>
      </a:lvl6pPr>
      <a:lvl7pPr marL="2073859" algn="l" defTabSz="345643" rtl="0" eaLnBrk="1" latinLnBrk="0" hangingPunct="1">
        <a:defRPr sz="1320" kern="1200">
          <a:solidFill>
            <a:schemeClr val="tx1"/>
          </a:solidFill>
          <a:latin typeface="+mn-lt"/>
          <a:ea typeface="+mn-ea"/>
          <a:cs typeface="+mn-cs"/>
        </a:defRPr>
      </a:lvl7pPr>
      <a:lvl8pPr marL="2419502" algn="l" defTabSz="345643" rtl="0" eaLnBrk="1" latinLnBrk="0" hangingPunct="1">
        <a:defRPr sz="1320" kern="1200">
          <a:solidFill>
            <a:schemeClr val="tx1"/>
          </a:solidFill>
          <a:latin typeface="+mn-lt"/>
          <a:ea typeface="+mn-ea"/>
          <a:cs typeface="+mn-cs"/>
        </a:defRPr>
      </a:lvl8pPr>
      <a:lvl9pPr marL="2765146" algn="l" defTabSz="345643" rtl="0" eaLnBrk="1" latinLnBrk="0" hangingPunct="1">
        <a:defRPr sz="13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726441" y="2055814"/>
            <a:ext cx="13177520" cy="5255576"/>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726440" y="454150"/>
            <a:ext cx="12174912" cy="6924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3903962" y="7531322"/>
            <a:ext cx="545280" cy="400050"/>
          </a:xfrm>
          <a:prstGeom prst="rect">
            <a:avLst/>
          </a:prstGeom>
        </p:spPr>
        <p:txBody>
          <a:bodyPr vert="horz" lIns="91440" tIns="45720" rIns="91440" bIns="45720" rtlCol="0" anchor="ctr"/>
          <a:lstStyle>
            <a:lvl1pPr algn="r">
              <a:defRPr sz="960">
                <a:solidFill>
                  <a:srgbClr val="C8102E"/>
                </a:solidFill>
              </a:defRPr>
            </a:lvl1pPr>
          </a:lstStyle>
          <a:p>
            <a:fld id="{AD816501-AAE5-214E-B100-00C3DC5F5E3F}" type="slidenum">
              <a:rPr lang="en-US" smtClean="0"/>
              <a:pPr/>
              <a:t>‹#›</a:t>
            </a:fld>
            <a:endParaRPr lang="en-US" dirty="0"/>
          </a:p>
        </p:txBody>
      </p:sp>
      <p:pic>
        <p:nvPicPr>
          <p:cNvPr id="8" name="Picture 7"/>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459088" y="7311390"/>
            <a:ext cx="1069643" cy="967284"/>
          </a:xfrm>
          <a:prstGeom prst="rect">
            <a:avLst/>
          </a:prstGeom>
        </p:spPr>
      </p:pic>
      <p:sp>
        <p:nvSpPr>
          <p:cNvPr id="11" name="Rectangle 10">
            <a:extLst>
              <a:ext uri="{FF2B5EF4-FFF2-40B4-BE49-F238E27FC236}">
                <a16:creationId xmlns:a16="http://schemas.microsoft.com/office/drawing/2014/main" id="{02E02312-9CA8-894B-B5FD-D8CF165BBDF5}"/>
              </a:ext>
            </a:extLst>
          </p:cNvPr>
          <p:cNvSpPr/>
          <p:nvPr userDrawn="1"/>
        </p:nvSpPr>
        <p:spPr bwMode="auto">
          <a:xfrm>
            <a:off x="602344" y="7547427"/>
            <a:ext cx="972457" cy="68217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Tree>
    <p:extLst>
      <p:ext uri="{BB962C8B-B14F-4D97-AF65-F5344CB8AC3E}">
        <p14:creationId xmlns:p14="http://schemas.microsoft.com/office/powerpoint/2010/main" val="725454900"/>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7" r:id="rId37"/>
    <p:sldLayoutId id="2147483898" r:id="rId38"/>
    <p:sldLayoutId id="2147483899" r:id="rId39"/>
    <p:sldLayoutId id="2147483900" r:id="rId40"/>
  </p:sldLayoutIdLst>
  <p:transition>
    <p:fade/>
  </p:transition>
  <p:hf hdr="0" ftr="0" dt="0"/>
  <p:txStyles>
    <p:titleStyle>
      <a:lvl1pPr algn="l" rtl="0" eaLnBrk="1" fontAlgn="base" hangingPunct="1">
        <a:lnSpc>
          <a:spcPct val="100000"/>
        </a:lnSpc>
        <a:spcBef>
          <a:spcPct val="0"/>
        </a:spcBef>
        <a:spcAft>
          <a:spcPct val="0"/>
        </a:spcAft>
        <a:defRPr sz="450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2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5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889"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18"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41392" indent="-285282" algn="l" rtl="0" eaLnBrk="1" fontAlgn="base" hangingPunct="1">
        <a:lnSpc>
          <a:spcPct val="100000"/>
        </a:lnSpc>
        <a:spcBef>
          <a:spcPts val="2160"/>
        </a:spcBef>
        <a:spcAft>
          <a:spcPct val="0"/>
        </a:spcAft>
        <a:buClr>
          <a:srgbClr val="63666A"/>
        </a:buClr>
        <a:buSzPct val="100000"/>
        <a:buFont typeface="Arial" pitchFamily="-65" charset="0"/>
        <a:buChar char="•"/>
        <a:defRPr sz="3000">
          <a:solidFill>
            <a:srgbClr val="595959"/>
          </a:solidFill>
          <a:latin typeface="+mn-lt"/>
          <a:ea typeface="Arial Unicode MS" pitchFamily="-65" charset="0"/>
          <a:cs typeface="Arial Unicode MS" pitchFamily="-65" charset="0"/>
          <a:sym typeface="Arial" pitchFamily="-65" charset="0"/>
        </a:defRPr>
      </a:lvl1pPr>
      <a:lvl2pPr marL="548618" indent="-288024" algn="l" rtl="0" eaLnBrk="1" fontAlgn="base" hangingPunct="1">
        <a:lnSpc>
          <a:spcPct val="100000"/>
        </a:lnSpc>
        <a:spcBef>
          <a:spcPts val="0"/>
        </a:spcBef>
        <a:spcAft>
          <a:spcPct val="0"/>
        </a:spcAft>
        <a:buClr>
          <a:srgbClr val="63666A"/>
        </a:buClr>
        <a:buSzPct val="100000"/>
        <a:buFont typeface="Arial" pitchFamily="-65" charset="0"/>
        <a:buChar char="–"/>
        <a:defRPr sz="2400">
          <a:solidFill>
            <a:srgbClr val="595959"/>
          </a:solidFill>
          <a:latin typeface="+mn-lt"/>
          <a:ea typeface="Arial Unicode MS" pitchFamily="-65" charset="0"/>
          <a:cs typeface="Arial Unicode MS" pitchFamily="-65" charset="0"/>
          <a:sym typeface="Arial" pitchFamily="-65" charset="0"/>
        </a:defRPr>
      </a:lvl2pPr>
      <a:lvl3pPr marL="877789" indent="-241392" algn="l" rtl="0" eaLnBrk="1" fontAlgn="base" hangingPunct="1">
        <a:lnSpc>
          <a:spcPct val="100000"/>
        </a:lnSpc>
        <a:spcBef>
          <a:spcPts val="0"/>
        </a:spcBef>
        <a:spcAft>
          <a:spcPct val="0"/>
        </a:spcAft>
        <a:buClr>
          <a:srgbClr val="63666A"/>
        </a:buClr>
        <a:buSzPct val="100000"/>
        <a:buFont typeface="Arial" pitchFamily="-65" charset="0"/>
        <a:buChar char="•"/>
        <a:defRPr sz="2160">
          <a:solidFill>
            <a:srgbClr val="595959"/>
          </a:solidFill>
          <a:latin typeface="+mn-lt"/>
          <a:ea typeface="Arial Unicode MS" pitchFamily="-65" charset="0"/>
          <a:cs typeface="Arial Unicode MS" pitchFamily="-65" charset="0"/>
          <a:sym typeface="Arial" pitchFamily="-65" charset="0"/>
        </a:defRPr>
      </a:lvl3pPr>
      <a:lvl4pPr marL="1316683" indent="-241392" algn="l" rtl="0" eaLnBrk="1" fontAlgn="base" hangingPunct="1">
        <a:lnSpc>
          <a:spcPct val="100000"/>
        </a:lnSpc>
        <a:spcBef>
          <a:spcPts val="0"/>
        </a:spcBef>
        <a:spcAft>
          <a:spcPct val="0"/>
        </a:spcAft>
        <a:buClr>
          <a:srgbClr val="63666A"/>
        </a:buClr>
        <a:buSzPct val="100000"/>
        <a:buFont typeface="Arial" pitchFamily="-65" charset="0"/>
        <a:buChar char="–"/>
        <a:defRPr sz="1800">
          <a:solidFill>
            <a:srgbClr val="595959"/>
          </a:solidFill>
          <a:latin typeface="+mn-lt"/>
          <a:ea typeface="Arial Unicode MS" pitchFamily="-65" charset="0"/>
          <a:cs typeface="Arial Unicode MS" pitchFamily="-65" charset="0"/>
          <a:sym typeface="Arial" pitchFamily="-65" charset="0"/>
        </a:defRPr>
      </a:lvl4pPr>
      <a:lvl5pPr marL="1785486" indent="-229352" algn="l" rtl="0" eaLnBrk="1" fontAlgn="base" hangingPunct="1">
        <a:lnSpc>
          <a:spcPct val="100000"/>
        </a:lnSpc>
        <a:spcBef>
          <a:spcPts val="0"/>
        </a:spcBef>
        <a:spcAft>
          <a:spcPct val="0"/>
        </a:spcAft>
        <a:buClr>
          <a:srgbClr val="63666A"/>
        </a:buClr>
        <a:buSzPct val="100000"/>
        <a:buFont typeface="Arial" pitchFamily="-65" charset="0"/>
        <a:buChar char="»"/>
        <a:defRPr sz="1560">
          <a:solidFill>
            <a:srgbClr val="595959"/>
          </a:solidFill>
          <a:latin typeface="+mn-lt"/>
          <a:ea typeface="Arial Unicode MS" pitchFamily="-65" charset="0"/>
          <a:cs typeface="Arial Unicode MS" pitchFamily="-65" charset="0"/>
          <a:sym typeface="Arial" pitchFamily="-65" charset="0"/>
        </a:defRPr>
      </a:lvl5pPr>
      <a:lvl6pPr marL="213138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6pPr>
      <a:lvl7pPr marL="2477012"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7pPr>
      <a:lvl8pPr marL="2822641"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8pPr>
      <a:lvl9pPr marL="3168270" indent="-230419" algn="l" rtl="0" eaLnBrk="1" fontAlgn="base" hangingPunct="1">
        <a:spcBef>
          <a:spcPts val="455"/>
        </a:spcBef>
        <a:spcAft>
          <a:spcPct val="0"/>
        </a:spcAft>
        <a:buSzPct val="100000"/>
        <a:buFont typeface="Arial" pitchFamily="-110" charset="0"/>
        <a:buChar char="»"/>
        <a:defRPr sz="2040">
          <a:solidFill>
            <a:schemeClr val="tx1"/>
          </a:solidFill>
          <a:latin typeface="+mn-lt"/>
          <a:ea typeface="+mn-ea"/>
          <a:cs typeface="+mn-cs"/>
          <a:sym typeface="Arial" pitchFamily="-110" charset="0"/>
        </a:defRPr>
      </a:lvl9pPr>
    </p:bodyStyle>
    <p:otherStyle>
      <a:defPPr>
        <a:defRPr lang="en-US"/>
      </a:defPPr>
      <a:lvl1pPr marL="0" algn="l" defTabSz="345629" rtl="0" eaLnBrk="1" latinLnBrk="0" hangingPunct="1">
        <a:defRPr sz="1320" kern="1200">
          <a:solidFill>
            <a:schemeClr val="tx1"/>
          </a:solidFill>
          <a:latin typeface="+mn-lt"/>
          <a:ea typeface="+mn-ea"/>
          <a:cs typeface="+mn-cs"/>
        </a:defRPr>
      </a:lvl1pPr>
      <a:lvl2pPr marL="345629" algn="l" defTabSz="345629" rtl="0" eaLnBrk="1" latinLnBrk="0" hangingPunct="1">
        <a:defRPr sz="1320" kern="1200">
          <a:solidFill>
            <a:schemeClr val="tx1"/>
          </a:solidFill>
          <a:latin typeface="+mn-lt"/>
          <a:ea typeface="+mn-ea"/>
          <a:cs typeface="+mn-cs"/>
        </a:defRPr>
      </a:lvl2pPr>
      <a:lvl3pPr marL="691259" algn="l" defTabSz="345629" rtl="0" eaLnBrk="1" latinLnBrk="0" hangingPunct="1">
        <a:defRPr sz="1320" kern="1200">
          <a:solidFill>
            <a:schemeClr val="tx1"/>
          </a:solidFill>
          <a:latin typeface="+mn-lt"/>
          <a:ea typeface="+mn-ea"/>
          <a:cs typeface="+mn-cs"/>
        </a:defRPr>
      </a:lvl3pPr>
      <a:lvl4pPr marL="1036889" algn="l" defTabSz="345629" rtl="0" eaLnBrk="1" latinLnBrk="0" hangingPunct="1">
        <a:defRPr sz="1320" kern="1200">
          <a:solidFill>
            <a:schemeClr val="tx1"/>
          </a:solidFill>
          <a:latin typeface="+mn-lt"/>
          <a:ea typeface="+mn-ea"/>
          <a:cs typeface="+mn-cs"/>
        </a:defRPr>
      </a:lvl4pPr>
      <a:lvl5pPr marL="1382518" algn="l" defTabSz="345629" rtl="0" eaLnBrk="1" latinLnBrk="0" hangingPunct="1">
        <a:defRPr sz="1320" kern="1200">
          <a:solidFill>
            <a:schemeClr val="tx1"/>
          </a:solidFill>
          <a:latin typeface="+mn-lt"/>
          <a:ea typeface="+mn-ea"/>
          <a:cs typeface="+mn-cs"/>
        </a:defRPr>
      </a:lvl5pPr>
      <a:lvl6pPr marL="1728146" algn="l" defTabSz="345629" rtl="0" eaLnBrk="1" latinLnBrk="0" hangingPunct="1">
        <a:defRPr sz="1320" kern="1200">
          <a:solidFill>
            <a:schemeClr val="tx1"/>
          </a:solidFill>
          <a:latin typeface="+mn-lt"/>
          <a:ea typeface="+mn-ea"/>
          <a:cs typeface="+mn-cs"/>
        </a:defRPr>
      </a:lvl6pPr>
      <a:lvl7pPr marL="2073776" algn="l" defTabSz="345629" rtl="0" eaLnBrk="1" latinLnBrk="0" hangingPunct="1">
        <a:defRPr sz="1320" kern="1200">
          <a:solidFill>
            <a:schemeClr val="tx1"/>
          </a:solidFill>
          <a:latin typeface="+mn-lt"/>
          <a:ea typeface="+mn-ea"/>
          <a:cs typeface="+mn-cs"/>
        </a:defRPr>
      </a:lvl7pPr>
      <a:lvl8pPr marL="2419405" algn="l" defTabSz="345629" rtl="0" eaLnBrk="1" latinLnBrk="0" hangingPunct="1">
        <a:defRPr sz="1320" kern="1200">
          <a:solidFill>
            <a:schemeClr val="tx1"/>
          </a:solidFill>
          <a:latin typeface="+mn-lt"/>
          <a:ea typeface="+mn-ea"/>
          <a:cs typeface="+mn-cs"/>
        </a:defRPr>
      </a:lvl8pPr>
      <a:lvl9pPr marL="2765035" algn="l" defTabSz="345629" rtl="0" eaLnBrk="1" latinLnBrk="0" hangingPunct="1">
        <a:defRPr sz="13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345964" y="314720"/>
            <a:ext cx="11579335" cy="549382"/>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347261" y="2186941"/>
            <a:ext cx="13932619" cy="533781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1520189" y="7698852"/>
            <a:ext cx="5705476" cy="184156"/>
          </a:xfrm>
          <a:prstGeom prst="rect">
            <a:avLst/>
          </a:prstGeom>
        </p:spPr>
        <p:txBody>
          <a:bodyPr vert="horz" lIns="0" tIns="0" rIns="0" bIns="0" rtlCol="0" anchor="ctr"/>
          <a:lstStyle>
            <a:lvl1pPr algn="l">
              <a:lnSpc>
                <a:spcPct val="110000"/>
              </a:lnSpc>
              <a:spcBef>
                <a:spcPts val="720"/>
              </a:spcBef>
              <a:spcAft>
                <a:spcPts val="720"/>
              </a:spcAft>
              <a:defRPr sz="1080" b="0" i="0">
                <a:solidFill>
                  <a:schemeClr val="tx1"/>
                </a:solidFill>
                <a:latin typeface="+mn-lt"/>
              </a:defRPr>
            </a:lvl1pPr>
          </a:lstStyle>
          <a:p>
            <a:r>
              <a:rPr lang="en-GB" dirty="0"/>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3277850" y="7698852"/>
            <a:ext cx="1005289" cy="184156"/>
          </a:xfrm>
          <a:prstGeom prst="rect">
            <a:avLst/>
          </a:prstGeom>
        </p:spPr>
        <p:txBody>
          <a:bodyPr vert="horz" lIns="0" tIns="0" rIns="0" bIns="0" rtlCol="0" anchor="ctr"/>
          <a:lstStyle>
            <a:lvl1pPr algn="r">
              <a:lnSpc>
                <a:spcPct val="110000"/>
              </a:lnSpc>
              <a:spcBef>
                <a:spcPts val="720"/>
              </a:spcBef>
              <a:spcAft>
                <a:spcPts val="720"/>
              </a:spcAft>
              <a:defRPr sz="1080" b="0" i="0">
                <a:solidFill>
                  <a:schemeClr val="tx1"/>
                </a:solidFill>
                <a:latin typeface="+mn-lt"/>
              </a:defRPr>
            </a:lvl1pPr>
          </a:lstStyle>
          <a:p>
            <a:fld id="{AD816501-AAE5-214E-B100-00C3DC5F5E3F}" type="slidenum">
              <a:rPr lang="en-US" smtClean="0"/>
              <a:pPr/>
              <a:t>‹#›</a:t>
            </a:fld>
            <a:endParaRPr lang="en-US" dirty="0"/>
          </a:p>
        </p:txBody>
      </p:sp>
      <p:sp>
        <p:nvSpPr>
          <p:cNvPr id="10" name="Graphic 8">
            <a:extLst>
              <a:ext uri="{FF2B5EF4-FFF2-40B4-BE49-F238E27FC236}">
                <a16:creationId xmlns:a16="http://schemas.microsoft.com/office/drawing/2014/main" id="{89912C14-54EA-5DA7-6F07-C2AB6D29AF6F}"/>
              </a:ext>
            </a:extLst>
          </p:cNvPr>
          <p:cNvSpPr>
            <a:spLocks noChangeAspect="1"/>
          </p:cNvSpPr>
          <p:nvPr/>
        </p:nvSpPr>
        <p:spPr>
          <a:xfrm>
            <a:off x="344806" y="7700010"/>
            <a:ext cx="423360" cy="179284"/>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tx2"/>
          </a:solidFill>
          <a:ln w="24751" cap="flat">
            <a:noFill/>
            <a:prstDash val="solid"/>
            <a:miter/>
          </a:ln>
        </p:spPr>
        <p:txBody>
          <a:bodyPr rtlCol="0" anchor="ctr"/>
          <a:lstStyle/>
          <a:p>
            <a:endParaRPr lang="en-GB" sz="3600" dirty="0"/>
          </a:p>
        </p:txBody>
      </p:sp>
    </p:spTree>
    <p:extLst>
      <p:ext uri="{BB962C8B-B14F-4D97-AF65-F5344CB8AC3E}">
        <p14:creationId xmlns:p14="http://schemas.microsoft.com/office/powerpoint/2010/main" val="116572098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928" r:id="rId27"/>
    <p:sldLayoutId id="2147483929" r:id="rId28"/>
    <p:sldLayoutId id="2147483930" r:id="rId29"/>
    <p:sldLayoutId id="2147483931" r:id="rId30"/>
    <p:sldLayoutId id="2147483932" r:id="rId31"/>
    <p:sldLayoutId id="2147483933" r:id="rId32"/>
    <p:sldLayoutId id="2147483934" r:id="rId33"/>
    <p:sldLayoutId id="2147483935" r:id="rId34"/>
    <p:sldLayoutId id="2147483936" r:id="rId35"/>
    <p:sldLayoutId id="2147483937" r:id="rId36"/>
    <p:sldLayoutId id="2147483938" r:id="rId37"/>
    <p:sldLayoutId id="2147483939" r:id="rId38"/>
    <p:sldLayoutId id="2147483940" r:id="rId39"/>
    <p:sldLayoutId id="2147483941" r:id="rId40"/>
    <p:sldLayoutId id="2147483942" r:id="rId41"/>
    <p:sldLayoutId id="2147483943" r:id="rId42"/>
    <p:sldLayoutId id="2147483944" r:id="rId43"/>
    <p:sldLayoutId id="2147483945" r:id="rId44"/>
    <p:sldLayoutId id="2147483946" r:id="rId45"/>
    <p:sldLayoutId id="2147483947" r:id="rId46"/>
    <p:sldLayoutId id="2147483948" r:id="rId47"/>
    <p:sldLayoutId id="2147483949" r:id="rId48"/>
    <p:sldLayoutId id="2147483950" r:id="rId49"/>
    <p:sldLayoutId id="2147483951" r:id="rId50"/>
    <p:sldLayoutId id="2147483952" r:id="rId51"/>
    <p:sldLayoutId id="2147483953" r:id="rId52"/>
    <p:sldLayoutId id="2147483954" r:id="rId53"/>
    <p:sldLayoutId id="2147483955" r:id="rId54"/>
    <p:sldLayoutId id="2147483956" r:id="rId55"/>
  </p:sldLayoutIdLst>
  <p:transition>
    <p:fade/>
  </p:transition>
  <p:hf hdr="0" ftr="0" dt="0"/>
  <p:txStyles>
    <p:titleStyle>
      <a:lvl1pPr algn="l" defTabSz="1097280" rtl="0" eaLnBrk="1" latinLnBrk="0" hangingPunct="1">
        <a:lnSpc>
          <a:spcPct val="85000"/>
        </a:lnSpc>
        <a:spcBef>
          <a:spcPts val="720"/>
        </a:spcBef>
        <a:spcAft>
          <a:spcPts val="720"/>
        </a:spcAft>
        <a:buNone/>
        <a:defRPr sz="4200" b="0" i="0" kern="1200" spc="0" baseline="0">
          <a:solidFill>
            <a:schemeClr val="tx2"/>
          </a:solidFill>
          <a:latin typeface="+mj-lt"/>
          <a:ea typeface="+mj-ea"/>
          <a:cs typeface="+mj-cs"/>
        </a:defRPr>
      </a:lvl1pPr>
    </p:titleStyle>
    <p:bodyStyle>
      <a:lvl1pPr marL="0" indent="0" algn="l" defTabSz="1097280" rtl="0" eaLnBrk="1" latinLnBrk="0" hangingPunct="1">
        <a:lnSpc>
          <a:spcPct val="110000"/>
        </a:lnSpc>
        <a:spcBef>
          <a:spcPts val="720"/>
        </a:spcBef>
        <a:spcAft>
          <a:spcPts val="720"/>
        </a:spcAft>
        <a:buFont typeface="Arial" panose="020B0604020202020204" pitchFamily="34" charset="0"/>
        <a:buNone/>
        <a:tabLst/>
        <a:defRPr sz="2160" b="0" i="0" kern="1200">
          <a:solidFill>
            <a:schemeClr val="tx1"/>
          </a:solidFill>
          <a:latin typeface="+mn-lt"/>
          <a:ea typeface="+mn-ea"/>
          <a:cs typeface="+mn-cs"/>
        </a:defRPr>
      </a:lvl1pPr>
      <a:lvl2pPr marL="342900" indent="-342900" algn="l" defTabSz="1097280" rtl="0" eaLnBrk="1" latinLnBrk="0" hangingPunct="1">
        <a:lnSpc>
          <a:spcPct val="110000"/>
        </a:lnSpc>
        <a:spcBef>
          <a:spcPts val="0"/>
        </a:spcBef>
        <a:spcAft>
          <a:spcPts val="720"/>
        </a:spcAft>
        <a:buFont typeface="Arial" panose="020B0604020202020204" pitchFamily="34" charset="0"/>
        <a:buChar char="•"/>
        <a:tabLst/>
        <a:defRPr sz="2160" b="0" i="0" kern="1200">
          <a:solidFill>
            <a:schemeClr val="tx1"/>
          </a:solidFill>
          <a:latin typeface="+mn-lt"/>
          <a:ea typeface="+mn-ea"/>
          <a:cs typeface="+mn-cs"/>
        </a:defRPr>
      </a:lvl2pPr>
      <a:lvl3pPr marL="685800" indent="-342900" algn="l" defTabSz="1097280" rtl="0" eaLnBrk="1" latinLnBrk="0" hangingPunct="1">
        <a:lnSpc>
          <a:spcPct val="110000"/>
        </a:lnSpc>
        <a:spcBef>
          <a:spcPts val="0"/>
        </a:spcBef>
        <a:spcAft>
          <a:spcPts val="720"/>
        </a:spcAft>
        <a:buFont typeface="Arial" panose="020B0604020202020204" pitchFamily="34" charset="0"/>
        <a:buChar char="•"/>
        <a:tabLst/>
        <a:defRPr sz="1920" b="0" i="0" kern="1200">
          <a:solidFill>
            <a:schemeClr val="tx1"/>
          </a:solidFill>
          <a:latin typeface="+mn-lt"/>
          <a:ea typeface="+mn-ea"/>
          <a:cs typeface="+mn-cs"/>
        </a:defRPr>
      </a:lvl3pPr>
      <a:lvl4pPr marL="0" indent="0" algn="l" defTabSz="1097280" rtl="0" eaLnBrk="1" latinLnBrk="0" hangingPunct="1">
        <a:lnSpc>
          <a:spcPct val="80000"/>
        </a:lnSpc>
        <a:spcBef>
          <a:spcPts val="720"/>
        </a:spcBef>
        <a:spcAft>
          <a:spcPts val="0"/>
        </a:spcAft>
        <a:buFont typeface="Arial" panose="020B0604020202020204" pitchFamily="34" charset="0"/>
        <a:buNone/>
        <a:tabLst/>
        <a:defRPr sz="8880" b="0" i="0" kern="1200">
          <a:solidFill>
            <a:schemeClr val="tx2"/>
          </a:solidFill>
          <a:latin typeface="+mj-lt"/>
          <a:ea typeface="+mn-ea"/>
          <a:cs typeface="+mn-cs"/>
        </a:defRPr>
      </a:lvl4pPr>
      <a:lvl5pPr marL="0" indent="0" algn="l" defTabSz="1097280" rtl="0" eaLnBrk="1" latinLnBrk="0" hangingPunct="1">
        <a:lnSpc>
          <a:spcPct val="110000"/>
        </a:lnSpc>
        <a:spcBef>
          <a:spcPts val="720"/>
        </a:spcBef>
        <a:spcAft>
          <a:spcPts val="720"/>
        </a:spcAft>
        <a:buFont typeface="Arial" panose="020B0604020202020204" pitchFamily="34" charset="0"/>
        <a:buNone/>
        <a:tabLst/>
        <a:defRPr sz="960" b="0" i="0" kern="1200">
          <a:solidFill>
            <a:schemeClr val="tx1"/>
          </a:solidFill>
          <a:latin typeface="+mn-lt"/>
          <a:ea typeface="+mn-ea"/>
          <a:cs typeface="+mn-cs"/>
        </a:defRPr>
      </a:lvl5pPr>
      <a:lvl6pPr marL="0" indent="0" algn="l" defTabSz="1097280"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80"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80"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80"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3" pos="708">
          <p15:clr>
            <a:srgbClr val="F26B43"/>
          </p15:clr>
        </p15:guide>
        <p15:guide id="4" pos="798">
          <p15:clr>
            <a:srgbClr val="F26B43"/>
          </p15:clr>
        </p15:guide>
        <p15:guide id="5" pos="1325">
          <p15:clr>
            <a:srgbClr val="F26B43"/>
          </p15:clr>
        </p15:guide>
        <p15:guide id="6" pos="1415">
          <p15:clr>
            <a:srgbClr val="F26B43"/>
          </p15:clr>
        </p15:guide>
        <p15:guide id="7" pos="1942">
          <p15:clr>
            <a:srgbClr val="F26B43"/>
          </p15:clr>
        </p15:guide>
        <p15:guide id="8" pos="2032">
          <p15:clr>
            <a:srgbClr val="F26B43"/>
          </p15:clr>
        </p15:guide>
        <p15:guide id="9" pos="2559">
          <p15:clr>
            <a:srgbClr val="F26B43"/>
          </p15:clr>
        </p15:guide>
        <p15:guide id="10" pos="2650">
          <p15:clr>
            <a:srgbClr val="F26B43"/>
          </p15:clr>
        </p15:guide>
        <p15:guide id="11" pos="3176">
          <p15:clr>
            <a:srgbClr val="F26B43"/>
          </p15:clr>
        </p15:guide>
        <p15:guide id="12" pos="3267">
          <p15:clr>
            <a:srgbClr val="F26B43"/>
          </p15:clr>
        </p15:guide>
        <p15:guide id="13" pos="3793">
          <p15:clr>
            <a:srgbClr val="F26B43"/>
          </p15:clr>
        </p15:guide>
        <p15:guide id="14" pos="3884">
          <p15:clr>
            <a:srgbClr val="F26B43"/>
          </p15:clr>
        </p15:guide>
        <p15:guide id="15" pos="4411">
          <p15:clr>
            <a:srgbClr val="F26B43"/>
          </p15:clr>
        </p15:guide>
        <p15:guide id="16" pos="4501">
          <p15:clr>
            <a:srgbClr val="F26B43"/>
          </p15:clr>
        </p15:guide>
        <p15:guide id="17" pos="5028">
          <p15:clr>
            <a:srgbClr val="F26B43"/>
          </p15:clr>
        </p15:guide>
        <p15:guide id="18" pos="5118">
          <p15:clr>
            <a:srgbClr val="F26B43"/>
          </p15:clr>
        </p15:guide>
        <p15:guide id="19" pos="5645">
          <p15:clr>
            <a:srgbClr val="F26B43"/>
          </p15:clr>
        </p15:guide>
        <p15:guide id="20" pos="5735">
          <p15:clr>
            <a:srgbClr val="F26B43"/>
          </p15:clr>
        </p15:guide>
        <p15:guide id="21" pos="6262">
          <p15:clr>
            <a:srgbClr val="F26B43"/>
          </p15:clr>
        </p15:guide>
        <p15:guide id="22" pos="6352">
          <p15:clr>
            <a:srgbClr val="F26B43"/>
          </p15:clr>
        </p15:guide>
        <p15:guide id="23" pos="6879">
          <p15:clr>
            <a:srgbClr val="F26B43"/>
          </p15:clr>
        </p15:guide>
        <p15:guide id="24" pos="6970">
          <p15:clr>
            <a:srgbClr val="F26B43"/>
          </p15:clr>
        </p15:guide>
        <p15:guide id="25" pos="7496">
          <p15:clr>
            <a:srgbClr val="F26B43"/>
          </p15:clr>
        </p15:guide>
        <p15:guide id="28" orient="horz" pos="1382">
          <p15:clr>
            <a:srgbClr val="F26B43"/>
          </p15:clr>
        </p15:guide>
        <p15:guide id="29" orient="horz" pos="1473">
          <p15:clr>
            <a:srgbClr val="F26B43"/>
          </p15:clr>
        </p15:guide>
        <p15:guide id="30" orient="horz" pos="2024">
          <p15:clr>
            <a:srgbClr val="F26B43"/>
          </p15:clr>
        </p15:guide>
        <p15:guide id="31" orient="horz" pos="2115">
          <p15:clr>
            <a:srgbClr val="F26B43"/>
          </p15:clr>
        </p15:guide>
        <p15:guide id="32" orient="horz" pos="2666">
          <p15:clr>
            <a:srgbClr val="F26B43"/>
          </p15:clr>
        </p15:guide>
        <p15:guide id="33" orient="horz" pos="2757">
          <p15:clr>
            <a:srgbClr val="F26B43"/>
          </p15:clr>
        </p15:guide>
        <p15:guide id="34" orient="horz" pos="3308">
          <p15:clr>
            <a:srgbClr val="F26B43"/>
          </p15:clr>
        </p15:guide>
        <p15:guide id="35" orient="horz" pos="3398">
          <p15:clr>
            <a:srgbClr val="F26B43"/>
          </p15:clr>
        </p15:guide>
        <p15:guide id="36" orient="horz" pos="3954">
          <p15:clr>
            <a:srgbClr val="F26B43"/>
          </p15:clr>
        </p15:guide>
        <p15:guide id="37" orient="horz" pos="4044">
          <p15:clr>
            <a:srgbClr val="F26B43"/>
          </p15:clr>
        </p15:guide>
        <p15:guide id="38" orient="horz" pos="4131">
          <p15:clr>
            <a:srgbClr val="F26B43"/>
          </p15:clr>
        </p15:guide>
        <p15:guide id="39" orient="horz" pos="738">
          <p15:clr>
            <a:srgbClr val="F26B43"/>
          </p15:clr>
        </p15:guide>
        <p15:guide id="40" orient="horz" pos="828">
          <p15:clr>
            <a:srgbClr val="F26B43"/>
          </p15:clr>
        </p15:guide>
        <p15:guide id="41" orient="horz" pos="1060">
          <p15:clr>
            <a:srgbClr val="F26B43"/>
          </p15:clr>
        </p15:guide>
        <p15:guide id="42" orient="horz" pos="1148">
          <p15:clr>
            <a:srgbClr val="F26B43"/>
          </p15:clr>
        </p15:guide>
        <p15:guide id="43" orient="horz" pos="1702">
          <p15:clr>
            <a:srgbClr val="F26B43"/>
          </p15:clr>
        </p15:guide>
        <p15:guide id="44" orient="horz" pos="1794">
          <p15:clr>
            <a:srgbClr val="F26B43"/>
          </p15:clr>
        </p15:guide>
        <p15:guide id="45" orient="horz" pos="2346">
          <p15:clr>
            <a:srgbClr val="F26B43"/>
          </p15:clr>
        </p15:guide>
        <p15:guide id="46" orient="horz" pos="2436">
          <p15:clr>
            <a:srgbClr val="F26B43"/>
          </p15:clr>
        </p15:guide>
        <p15:guide id="47" orient="horz" pos="2990">
          <p15:clr>
            <a:srgbClr val="F26B43"/>
          </p15:clr>
        </p15:guide>
        <p15:guide id="48" orient="horz" pos="3080">
          <p15:clr>
            <a:srgbClr val="F26B43"/>
          </p15:clr>
        </p15:guide>
        <p15:guide id="49" orient="horz" pos="3632">
          <p15:clr>
            <a:srgbClr val="F26B43"/>
          </p15:clr>
        </p15:guide>
        <p15:guide id="50" orient="horz" pos="3722">
          <p15:clr>
            <a:srgbClr val="F26B43"/>
          </p15:clr>
        </p15:guide>
        <p15:guide id="51" orient="horz" pos="346">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0.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80.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0.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0.xml"/></Relationships>
</file>

<file path=ppt/slides/_rels/slide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8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280.xml"/></Relationships>
</file>

<file path=ppt/slides/_rels/slide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7.xml"/><Relationship Id="rId1" Type="http://schemas.openxmlformats.org/officeDocument/2006/relationships/slideLayout" Target="../slideLayouts/slideLayout280.xml"/></Relationships>
</file>

<file path=ppt/slides/_rels/slide1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8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6.xml"/></Relationships>
</file>

<file path=ppt/slides/_rels/slide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280.xml"/></Relationships>
</file>

<file path=ppt/slides/_rels/slide2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0.xml"/><Relationship Id="rId1" Type="http://schemas.openxmlformats.org/officeDocument/2006/relationships/slideLayout" Target="../slideLayouts/slideLayout280.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1.xml"/><Relationship Id="rId1" Type="http://schemas.openxmlformats.org/officeDocument/2006/relationships/slideLayout" Target="../slideLayouts/slideLayout280.xml"/></Relationships>
</file>

<file path=ppt/slides/_rels/slide2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2.xml"/><Relationship Id="rId1" Type="http://schemas.openxmlformats.org/officeDocument/2006/relationships/slideLayout" Target="../slideLayouts/slideLayout280.xml"/></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3.xml"/><Relationship Id="rId1" Type="http://schemas.openxmlformats.org/officeDocument/2006/relationships/slideLayout" Target="../slideLayouts/slideLayout280.xml"/></Relationships>
</file>

<file path=ppt/slides/_rels/slide2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4.xml"/><Relationship Id="rId1" Type="http://schemas.openxmlformats.org/officeDocument/2006/relationships/slideLayout" Target="../slideLayouts/slideLayout280.xml"/></Relationships>
</file>

<file path=ppt/slides/_rels/slide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280.xml"/></Relationships>
</file>

<file path=ppt/slides/_rels/slide2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280.xml"/></Relationships>
</file>

<file path=ppt/slides/_rels/slide2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280.xml"/></Relationships>
</file>

<file path=ppt/slides/_rels/slide2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28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30.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image" Target="../media/image33.emf"/><Relationship Id="rId1" Type="http://schemas.openxmlformats.org/officeDocument/2006/relationships/slideLayout" Target="../slideLayouts/slideLayout280.xml"/><Relationship Id="rId6" Type="http://schemas.openxmlformats.org/officeDocument/2006/relationships/image" Target="../media/image37.emf"/><Relationship Id="rId5" Type="http://schemas.openxmlformats.org/officeDocument/2006/relationships/image" Target="../media/image36.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emf"/></Relationships>
</file>

<file path=ppt/slides/_rels/slide31.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oleObject" Target="../embeddings/oleObject1.bin"/><Relationship Id="rId1" Type="http://schemas.openxmlformats.org/officeDocument/2006/relationships/slideLayout" Target="../slideLayouts/slideLayout280.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slides/_rels/slide3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80.xml"/></Relationships>
</file>

<file path=ppt/slides/_rels/slide3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280.xml"/><Relationship Id="rId4" Type="http://schemas.openxmlformats.org/officeDocument/2006/relationships/image" Target="../media/image50.emf"/></Relationships>
</file>

<file path=ppt/slides/_rels/slide3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slideLayout" Target="../slideLayouts/slideLayout280.xml"/><Relationship Id="rId5" Type="http://schemas.openxmlformats.org/officeDocument/2006/relationships/image" Target="../media/image54.emf"/><Relationship Id="rId4" Type="http://schemas.openxmlformats.org/officeDocument/2006/relationships/image" Target="../media/image53.emf"/></Relationships>
</file>

<file path=ppt/slides/_rels/slide35.xml.rels><?xml version="1.0" encoding="UTF-8" standalone="yes"?>
<Relationships xmlns="http://schemas.openxmlformats.org/package/2006/relationships"><Relationship Id="rId3" Type="http://schemas.openxmlformats.org/officeDocument/2006/relationships/hyperlink" Target="https://jnj.sharepoint.com/teams/ITASCPI/Projects/Sterilmed%20ERP%20Migration%20Phase%200/default.aspx" TargetMode="External"/><Relationship Id="rId2" Type="http://schemas.openxmlformats.org/officeDocument/2006/relationships/hyperlink" Target="https://jnj-my.sharepoint.com/:f:/r/personal/mbroy_its_jnj_com/Documents/Sterilmed%20Project/CPI%20Files?csf=1&amp;web=1&amp;e=LuS8Sp" TargetMode="External"/><Relationship Id="rId1" Type="http://schemas.openxmlformats.org/officeDocument/2006/relationships/slideLayout" Target="../slideLayouts/slideLayout2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8" Type="http://schemas.openxmlformats.org/officeDocument/2006/relationships/hyperlink" Target="mailto:rmcdono@its.jnj.com" TargetMode="External"/><Relationship Id="rId3" Type="http://schemas.openxmlformats.org/officeDocument/2006/relationships/hyperlink" Target="mailto:jsteibl@its.jnj.com" TargetMode="External"/><Relationship Id="rId7" Type="http://schemas.openxmlformats.org/officeDocument/2006/relationships/hyperlink" Target="mailto:lpeter26@its.jnj.com" TargetMode="External"/><Relationship Id="rId2" Type="http://schemas.openxmlformats.org/officeDocument/2006/relationships/notesSlide" Target="../notesSlides/notesSlide4.xml"/><Relationship Id="rId1" Type="http://schemas.openxmlformats.org/officeDocument/2006/relationships/slideLayout" Target="../slideLayouts/slideLayout128.xml"/><Relationship Id="rId6" Type="http://schemas.openxmlformats.org/officeDocument/2006/relationships/hyperlink" Target="mailto:zdevoti@its.jnj.com" TargetMode="External"/><Relationship Id="rId5" Type="http://schemas.openxmlformats.org/officeDocument/2006/relationships/hyperlink" Target="mailto:cking31@its.jnj.com" TargetMode="External"/><Relationship Id="rId4" Type="http://schemas.openxmlformats.org/officeDocument/2006/relationships/hyperlink" Target="mailto:bgeiss@its.jnj.com" TargetMode="External"/><Relationship Id="rId9" Type="http://schemas.openxmlformats.org/officeDocument/2006/relationships/hyperlink" Target="mailto:rjohns98@its.jnj.com"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80.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19DCE-E2AF-6943-B6FF-4A7AC247B383}"/>
              </a:ext>
            </a:extLst>
          </p:cNvPr>
          <p:cNvSpPr>
            <a:spLocks noGrp="1"/>
          </p:cNvSpPr>
          <p:nvPr>
            <p:ph type="ctrTitle"/>
          </p:nvPr>
        </p:nvSpPr>
        <p:spPr>
          <a:xfrm>
            <a:off x="341767" y="313298"/>
            <a:ext cx="11587343" cy="3141168"/>
          </a:xfrm>
        </p:spPr>
        <p:txBody>
          <a:bodyPr wrap="square" anchor="t">
            <a:normAutofit fontScale="90000"/>
          </a:bodyPr>
          <a:lstStyle/>
          <a:p>
            <a:r>
              <a:rPr lang="en-US" sz="10700" dirty="0"/>
              <a:t>CPI-DTB-MedTech-NA-Sterilmed ERP Migration Phase 0 - Report Out Deck</a:t>
            </a:r>
          </a:p>
        </p:txBody>
      </p:sp>
      <p:sp>
        <p:nvSpPr>
          <p:cNvPr id="5" name="Text Placeholder 4">
            <a:extLst>
              <a:ext uri="{FF2B5EF4-FFF2-40B4-BE49-F238E27FC236}">
                <a16:creationId xmlns:a16="http://schemas.microsoft.com/office/drawing/2014/main" id="{AD74E9A9-E9CA-C549-AE0D-EEE19F3100A9}"/>
              </a:ext>
            </a:extLst>
          </p:cNvPr>
          <p:cNvSpPr>
            <a:spLocks noGrp="1"/>
          </p:cNvSpPr>
          <p:nvPr>
            <p:ph type="body" sz="quarter" idx="10"/>
          </p:nvPr>
        </p:nvSpPr>
        <p:spPr>
          <a:xfrm>
            <a:off x="10925176" y="7071504"/>
            <a:ext cx="3354704" cy="860616"/>
          </a:xfrm>
        </p:spPr>
        <p:txBody>
          <a:bodyPr anchor="b">
            <a:noAutofit/>
          </a:bodyPr>
          <a:lstStyle/>
          <a:p>
            <a:pPr>
              <a:lnSpc>
                <a:spcPct val="90000"/>
              </a:lnSpc>
              <a:spcAft>
                <a:spcPts val="600"/>
              </a:spcAft>
            </a:pPr>
            <a:r>
              <a:rPr lang="en-US" sz="2000" dirty="0"/>
              <a:t>Role – Project Lead</a:t>
            </a:r>
          </a:p>
          <a:p>
            <a:pPr>
              <a:lnSpc>
                <a:spcPct val="90000"/>
              </a:lnSpc>
              <a:spcAft>
                <a:spcPts val="600"/>
              </a:spcAft>
            </a:pPr>
            <a:r>
              <a:rPr lang="en-US" sz="2000" dirty="0"/>
              <a:t>Name – Troy Engel</a:t>
            </a:r>
          </a:p>
          <a:p>
            <a:pPr>
              <a:lnSpc>
                <a:spcPct val="90000"/>
              </a:lnSpc>
              <a:spcAft>
                <a:spcPts val="600"/>
              </a:spcAft>
            </a:pPr>
            <a:r>
              <a:rPr lang="en-US" sz="2000" dirty="0"/>
              <a:t>Date – 3/1/2024</a:t>
            </a:r>
          </a:p>
          <a:p>
            <a:pPr>
              <a:lnSpc>
                <a:spcPct val="90000"/>
              </a:lnSpc>
              <a:spcAft>
                <a:spcPts val="600"/>
              </a:spcAft>
            </a:pPr>
            <a:endParaRPr lang="en-US" sz="2000" dirty="0"/>
          </a:p>
        </p:txBody>
      </p:sp>
    </p:spTree>
    <p:extLst>
      <p:ext uri="{BB962C8B-B14F-4D97-AF65-F5344CB8AC3E}">
        <p14:creationId xmlns:p14="http://schemas.microsoft.com/office/powerpoint/2010/main" val="3325743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4A0B86-7185-5C4D-8205-C25911464C1C}"/>
              </a:ext>
            </a:extLst>
          </p:cNvPr>
          <p:cNvSpPr>
            <a:spLocks noGrp="1"/>
          </p:cNvSpPr>
          <p:nvPr>
            <p:ph type="ctrTitle"/>
          </p:nvPr>
        </p:nvSpPr>
        <p:spPr>
          <a:xfrm>
            <a:off x="349912" y="336961"/>
            <a:ext cx="6880860" cy="3144476"/>
          </a:xfrm>
        </p:spPr>
        <p:txBody>
          <a:bodyPr wrap="square" anchor="t">
            <a:normAutofit/>
          </a:bodyPr>
          <a:lstStyle/>
          <a:p>
            <a:r>
              <a:rPr lang="en-US" sz="12600" dirty="0"/>
              <a:t>Measure</a:t>
            </a:r>
          </a:p>
        </p:txBody>
      </p:sp>
    </p:spTree>
    <p:extLst>
      <p:ext uri="{BB962C8B-B14F-4D97-AF65-F5344CB8AC3E}">
        <p14:creationId xmlns:p14="http://schemas.microsoft.com/office/powerpoint/2010/main" val="36034256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5FA1A3-74D0-FAF6-15BA-87FA04727195}"/>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Text"/>
                <a:ea typeface="ヒラギノ角ゴ ProN W3"/>
                <a:cs typeface="+mn-cs"/>
              </a:rPr>
              <a:t>Current State SIPOC</a:t>
            </a:r>
            <a:endParaRPr lang="en-US" sz="5280" dirty="0">
              <a:solidFill>
                <a:srgbClr val="F4F4F4"/>
              </a:solidFill>
              <a:latin typeface="Johnson Text"/>
              <a:ea typeface="ヒラギノ角ゴ ProN W3"/>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9" name="Text Placeholder 3">
            <a:extLst>
              <a:ext uri="{FF2B5EF4-FFF2-40B4-BE49-F238E27FC236}">
                <a16:creationId xmlns:a16="http://schemas.microsoft.com/office/drawing/2014/main" id="{981D3029-62EE-1CA0-CA36-97B714A5F8C0}"/>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pPr>
            <a:r>
              <a:rPr lang="en-US" sz="2400" dirty="0">
                <a:solidFill>
                  <a:srgbClr val="000000"/>
                </a:solidFill>
                <a:latin typeface="Johnson Text"/>
              </a:rPr>
              <a:t>Sterilmed ERP Migration – Tech Design Phase 0 – End to End Current State Process</a:t>
            </a:r>
          </a:p>
        </p:txBody>
      </p:sp>
      <p:sp>
        <p:nvSpPr>
          <p:cNvPr id="2" name="Rectangle 1">
            <a:extLst>
              <a:ext uri="{FF2B5EF4-FFF2-40B4-BE49-F238E27FC236}">
                <a16:creationId xmlns:a16="http://schemas.microsoft.com/office/drawing/2014/main" id="{5B417DB5-76C8-6A70-494D-F6001C234F17}"/>
              </a:ext>
            </a:extLst>
          </p:cNvPr>
          <p:cNvSpPr/>
          <p:nvPr/>
        </p:nvSpPr>
        <p:spPr bwMode="gray">
          <a:xfrm>
            <a:off x="6781936" y="2294988"/>
            <a:ext cx="1074053" cy="728506"/>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See </a:t>
            </a:r>
          </a:p>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Next</a:t>
            </a:r>
          </a:p>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Slide</a:t>
            </a:r>
          </a:p>
        </p:txBody>
      </p:sp>
      <p:sp>
        <p:nvSpPr>
          <p:cNvPr id="3" name="Rectangle 2">
            <a:extLst>
              <a:ext uri="{FF2B5EF4-FFF2-40B4-BE49-F238E27FC236}">
                <a16:creationId xmlns:a16="http://schemas.microsoft.com/office/drawing/2014/main" id="{9BAF6C13-8042-D3CE-8B67-5F50F9CAFF4A}"/>
              </a:ext>
            </a:extLst>
          </p:cNvPr>
          <p:cNvSpPr/>
          <p:nvPr/>
        </p:nvSpPr>
        <p:spPr bwMode="auto">
          <a:xfrm>
            <a:off x="1649551" y="1809061"/>
            <a:ext cx="1621166" cy="387798"/>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4">
              <a:spcBef>
                <a:spcPct val="0"/>
              </a:spcBef>
            </a:pPr>
            <a:r>
              <a:rPr lang="en-US" sz="1920" dirty="0">
                <a:solidFill>
                  <a:srgbClr val="FFFFFF"/>
                </a:solidFill>
                <a:latin typeface="Johnson Text"/>
                <a:ea typeface="ヒラギノ角ゴ ProN W3" pitchFamily="-110" charset="-128"/>
                <a:cs typeface="ヒラギノ角ゴ ProN W3" pitchFamily="-110" charset="-128"/>
                <a:sym typeface="Arial" pitchFamily="-110" charset="0"/>
              </a:rPr>
              <a:t>Supplier</a:t>
            </a:r>
          </a:p>
        </p:txBody>
      </p:sp>
      <p:sp>
        <p:nvSpPr>
          <p:cNvPr id="5" name="Rectangle 4">
            <a:extLst>
              <a:ext uri="{FF2B5EF4-FFF2-40B4-BE49-F238E27FC236}">
                <a16:creationId xmlns:a16="http://schemas.microsoft.com/office/drawing/2014/main" id="{4F72104B-FD3C-2832-B6E9-0993FF81963E}"/>
              </a:ext>
            </a:extLst>
          </p:cNvPr>
          <p:cNvSpPr/>
          <p:nvPr/>
        </p:nvSpPr>
        <p:spPr bwMode="auto">
          <a:xfrm>
            <a:off x="3867030" y="1809061"/>
            <a:ext cx="2057400" cy="387798"/>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4">
              <a:spcBef>
                <a:spcPct val="0"/>
              </a:spcBef>
            </a:pPr>
            <a:r>
              <a:rPr lang="en-US" sz="1920" dirty="0">
                <a:solidFill>
                  <a:srgbClr val="FFFFFF"/>
                </a:solidFill>
                <a:latin typeface="Johnson Text"/>
                <a:ea typeface="ヒラギノ角ゴ ProN W3" pitchFamily="-110" charset="-128"/>
                <a:cs typeface="ヒラギノ角ゴ ProN W3" pitchFamily="-110" charset="-128"/>
                <a:sym typeface="Arial" pitchFamily="-110" charset="0"/>
              </a:rPr>
              <a:t>Input</a:t>
            </a:r>
          </a:p>
        </p:txBody>
      </p:sp>
      <p:sp>
        <p:nvSpPr>
          <p:cNvPr id="6" name="Rectangle 5">
            <a:extLst>
              <a:ext uri="{FF2B5EF4-FFF2-40B4-BE49-F238E27FC236}">
                <a16:creationId xmlns:a16="http://schemas.microsoft.com/office/drawing/2014/main" id="{E99E8348-D523-3A09-D9CD-B0B0C1467A03}"/>
              </a:ext>
            </a:extLst>
          </p:cNvPr>
          <p:cNvSpPr/>
          <p:nvPr/>
        </p:nvSpPr>
        <p:spPr bwMode="auto">
          <a:xfrm>
            <a:off x="6778040" y="1809061"/>
            <a:ext cx="1074053" cy="387798"/>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4">
              <a:spcBef>
                <a:spcPct val="0"/>
              </a:spcBef>
            </a:pPr>
            <a:r>
              <a:rPr lang="en-US" sz="1920" dirty="0">
                <a:solidFill>
                  <a:srgbClr val="FFFFFF"/>
                </a:solidFill>
                <a:latin typeface="Johnson Text"/>
                <a:ea typeface="ヒラギノ角ゴ ProN W3" pitchFamily="-110" charset="-128"/>
                <a:cs typeface="ヒラギノ角ゴ ProN W3" pitchFamily="-110" charset="-128"/>
                <a:sym typeface="Arial" pitchFamily="-110" charset="0"/>
              </a:rPr>
              <a:t>Process</a:t>
            </a:r>
          </a:p>
        </p:txBody>
      </p:sp>
      <p:sp>
        <p:nvSpPr>
          <p:cNvPr id="7" name="Rectangle 6">
            <a:extLst>
              <a:ext uri="{FF2B5EF4-FFF2-40B4-BE49-F238E27FC236}">
                <a16:creationId xmlns:a16="http://schemas.microsoft.com/office/drawing/2014/main" id="{BE41D16F-D06B-B4FA-252B-8A3CE19968C2}"/>
              </a:ext>
            </a:extLst>
          </p:cNvPr>
          <p:cNvSpPr/>
          <p:nvPr/>
        </p:nvSpPr>
        <p:spPr bwMode="auto">
          <a:xfrm>
            <a:off x="8898183" y="1809061"/>
            <a:ext cx="2062886" cy="387798"/>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4">
              <a:spcBef>
                <a:spcPct val="0"/>
              </a:spcBef>
            </a:pPr>
            <a:r>
              <a:rPr lang="en-US" sz="1920" dirty="0">
                <a:solidFill>
                  <a:srgbClr val="FFFFFF"/>
                </a:solidFill>
                <a:latin typeface="Johnson Text"/>
                <a:ea typeface="ヒラギノ角ゴ ProN W3" pitchFamily="-110" charset="-128"/>
                <a:cs typeface="ヒラギノ角ゴ ProN W3" pitchFamily="-110" charset="-128"/>
                <a:sym typeface="Arial" pitchFamily="-110" charset="0"/>
              </a:rPr>
              <a:t>Output</a:t>
            </a:r>
          </a:p>
        </p:txBody>
      </p:sp>
      <p:sp>
        <p:nvSpPr>
          <p:cNvPr id="8" name="Rectangle 7">
            <a:extLst>
              <a:ext uri="{FF2B5EF4-FFF2-40B4-BE49-F238E27FC236}">
                <a16:creationId xmlns:a16="http://schemas.microsoft.com/office/drawing/2014/main" id="{9B858BA3-2550-674F-B030-28FF9658249E}"/>
              </a:ext>
            </a:extLst>
          </p:cNvPr>
          <p:cNvSpPr/>
          <p:nvPr/>
        </p:nvSpPr>
        <p:spPr bwMode="auto">
          <a:xfrm>
            <a:off x="11704929" y="1809061"/>
            <a:ext cx="1546474" cy="387798"/>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4">
              <a:spcBef>
                <a:spcPct val="0"/>
              </a:spcBef>
            </a:pPr>
            <a:r>
              <a:rPr lang="en-US" sz="1920" dirty="0">
                <a:solidFill>
                  <a:srgbClr val="FFFFFF"/>
                </a:solidFill>
                <a:latin typeface="Johnson Text"/>
                <a:ea typeface="ヒラギノ角ゴ ProN W3" pitchFamily="-110" charset="-128"/>
                <a:cs typeface="ヒラギノ角ゴ ProN W3" pitchFamily="-110" charset="-128"/>
                <a:sym typeface="Arial" pitchFamily="-110" charset="0"/>
              </a:rPr>
              <a:t>Customer</a:t>
            </a:r>
          </a:p>
        </p:txBody>
      </p:sp>
      <p:sp>
        <p:nvSpPr>
          <p:cNvPr id="9" name="Rectangle 8">
            <a:extLst>
              <a:ext uri="{FF2B5EF4-FFF2-40B4-BE49-F238E27FC236}">
                <a16:creationId xmlns:a16="http://schemas.microsoft.com/office/drawing/2014/main" id="{436ACAAC-14D3-3C04-AE55-CBAAFE33CAA4}"/>
              </a:ext>
            </a:extLst>
          </p:cNvPr>
          <p:cNvSpPr/>
          <p:nvPr/>
        </p:nvSpPr>
        <p:spPr bwMode="gray">
          <a:xfrm>
            <a:off x="3867030" y="2294987"/>
            <a:ext cx="2057400" cy="7285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1. Request for set up of Sterilmed customer / supplier</a:t>
            </a:r>
          </a:p>
        </p:txBody>
      </p:sp>
      <p:sp>
        <p:nvSpPr>
          <p:cNvPr id="10" name="Rectangle 9">
            <a:extLst>
              <a:ext uri="{FF2B5EF4-FFF2-40B4-BE49-F238E27FC236}">
                <a16:creationId xmlns:a16="http://schemas.microsoft.com/office/drawing/2014/main" id="{3DD32AA6-43F8-F055-C7F9-CBA170B08EF3}"/>
              </a:ext>
            </a:extLst>
          </p:cNvPr>
          <p:cNvSpPr/>
          <p:nvPr/>
        </p:nvSpPr>
        <p:spPr bwMode="gray">
          <a:xfrm>
            <a:off x="3867030" y="3161007"/>
            <a:ext cx="2057400"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2. New business engagement request </a:t>
            </a:r>
          </a:p>
        </p:txBody>
      </p:sp>
      <p:sp>
        <p:nvSpPr>
          <p:cNvPr id="20" name="Rectangle 19">
            <a:extLst>
              <a:ext uri="{FF2B5EF4-FFF2-40B4-BE49-F238E27FC236}">
                <a16:creationId xmlns:a16="http://schemas.microsoft.com/office/drawing/2014/main" id="{154E7717-DD0C-F2B8-52CF-751DBA2937CA}"/>
              </a:ext>
            </a:extLst>
          </p:cNvPr>
          <p:cNvSpPr/>
          <p:nvPr/>
        </p:nvSpPr>
        <p:spPr bwMode="gray">
          <a:xfrm>
            <a:off x="3867030" y="3916228"/>
            <a:ext cx="2057400"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3. Requisitioning direct &amp; indirect goods</a:t>
            </a:r>
          </a:p>
        </p:txBody>
      </p:sp>
      <p:sp>
        <p:nvSpPr>
          <p:cNvPr id="21" name="Rectangle 20">
            <a:extLst>
              <a:ext uri="{FF2B5EF4-FFF2-40B4-BE49-F238E27FC236}">
                <a16:creationId xmlns:a16="http://schemas.microsoft.com/office/drawing/2014/main" id="{42372862-72C3-080D-F766-BEEC2E3EAE4B}"/>
              </a:ext>
            </a:extLst>
          </p:cNvPr>
          <p:cNvSpPr/>
          <p:nvPr/>
        </p:nvSpPr>
        <p:spPr bwMode="gray">
          <a:xfrm>
            <a:off x="3867030" y="4671449"/>
            <a:ext cx="2057400"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4. Collection of devices from custom	</a:t>
            </a:r>
          </a:p>
        </p:txBody>
      </p:sp>
      <p:sp>
        <p:nvSpPr>
          <p:cNvPr id="22" name="Rectangle 21">
            <a:extLst>
              <a:ext uri="{FF2B5EF4-FFF2-40B4-BE49-F238E27FC236}">
                <a16:creationId xmlns:a16="http://schemas.microsoft.com/office/drawing/2014/main" id="{DEC19FB4-1A83-8771-8D7F-B38FF17C63D7}"/>
              </a:ext>
            </a:extLst>
          </p:cNvPr>
          <p:cNvSpPr/>
          <p:nvPr/>
        </p:nvSpPr>
        <p:spPr bwMode="gray">
          <a:xfrm>
            <a:off x="3867030" y="5420464"/>
            <a:ext cx="2057400"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5. Create order to cash quote</a:t>
            </a:r>
          </a:p>
        </p:txBody>
      </p:sp>
      <p:sp>
        <p:nvSpPr>
          <p:cNvPr id="23" name="Rectangle 22">
            <a:extLst>
              <a:ext uri="{FF2B5EF4-FFF2-40B4-BE49-F238E27FC236}">
                <a16:creationId xmlns:a16="http://schemas.microsoft.com/office/drawing/2014/main" id="{11B48E5F-D632-9B80-5227-DC82A57793F4}"/>
              </a:ext>
            </a:extLst>
          </p:cNvPr>
          <p:cNvSpPr/>
          <p:nvPr/>
        </p:nvSpPr>
        <p:spPr bwMode="gray">
          <a:xfrm>
            <a:off x="1649551" y="2294988"/>
            <a:ext cx="162116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Sterilmed customer</a:t>
            </a:r>
          </a:p>
        </p:txBody>
      </p:sp>
      <p:sp>
        <p:nvSpPr>
          <p:cNvPr id="24" name="Rectangle 23">
            <a:extLst>
              <a:ext uri="{FF2B5EF4-FFF2-40B4-BE49-F238E27FC236}">
                <a16:creationId xmlns:a16="http://schemas.microsoft.com/office/drawing/2014/main" id="{19B3EE35-5108-13FD-A290-F947CE45C404}"/>
              </a:ext>
            </a:extLst>
          </p:cNvPr>
          <p:cNvSpPr/>
          <p:nvPr/>
        </p:nvSpPr>
        <p:spPr bwMode="gray">
          <a:xfrm>
            <a:off x="1649551" y="3056591"/>
            <a:ext cx="162116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Reprocessing &amp; support functions</a:t>
            </a:r>
          </a:p>
        </p:txBody>
      </p:sp>
      <p:sp>
        <p:nvSpPr>
          <p:cNvPr id="25" name="Rectangle 24">
            <a:extLst>
              <a:ext uri="{FF2B5EF4-FFF2-40B4-BE49-F238E27FC236}">
                <a16:creationId xmlns:a16="http://schemas.microsoft.com/office/drawing/2014/main" id="{3E8E4AC8-C38C-A0EC-E10C-27C78B910504}"/>
              </a:ext>
            </a:extLst>
          </p:cNvPr>
          <p:cNvSpPr/>
          <p:nvPr/>
        </p:nvSpPr>
        <p:spPr bwMode="gray">
          <a:xfrm>
            <a:off x="1649551" y="3819090"/>
            <a:ext cx="1621166" cy="396108"/>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Customer service </a:t>
            </a:r>
          </a:p>
        </p:txBody>
      </p:sp>
      <p:sp>
        <p:nvSpPr>
          <p:cNvPr id="26" name="Rectangle 25">
            <a:extLst>
              <a:ext uri="{FF2B5EF4-FFF2-40B4-BE49-F238E27FC236}">
                <a16:creationId xmlns:a16="http://schemas.microsoft.com/office/drawing/2014/main" id="{E9D77447-9B57-082F-F623-9FA5132BEFDB}"/>
              </a:ext>
            </a:extLst>
          </p:cNvPr>
          <p:cNvSpPr/>
          <p:nvPr/>
        </p:nvSpPr>
        <p:spPr bwMode="gray">
          <a:xfrm>
            <a:off x="1649551" y="4358820"/>
            <a:ext cx="1621166" cy="839306"/>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Master data management (MDM) team</a:t>
            </a:r>
          </a:p>
        </p:txBody>
      </p:sp>
      <p:sp>
        <p:nvSpPr>
          <p:cNvPr id="27" name="Rectangle 26">
            <a:extLst>
              <a:ext uri="{FF2B5EF4-FFF2-40B4-BE49-F238E27FC236}">
                <a16:creationId xmlns:a16="http://schemas.microsoft.com/office/drawing/2014/main" id="{549638CA-F4B8-C0E5-4627-F26EF66E9CF0}"/>
              </a:ext>
            </a:extLst>
          </p:cNvPr>
          <p:cNvSpPr/>
          <p:nvPr/>
        </p:nvSpPr>
        <p:spPr bwMode="gray">
          <a:xfrm>
            <a:off x="1649551" y="5347559"/>
            <a:ext cx="1621166" cy="396108"/>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Finance Teams</a:t>
            </a:r>
          </a:p>
        </p:txBody>
      </p:sp>
      <p:sp>
        <p:nvSpPr>
          <p:cNvPr id="28" name="Rectangle 27">
            <a:extLst>
              <a:ext uri="{FF2B5EF4-FFF2-40B4-BE49-F238E27FC236}">
                <a16:creationId xmlns:a16="http://schemas.microsoft.com/office/drawing/2014/main" id="{30FE4871-9C08-53DD-4B21-FB0C381A2471}"/>
              </a:ext>
            </a:extLst>
          </p:cNvPr>
          <p:cNvSpPr/>
          <p:nvPr/>
        </p:nvSpPr>
        <p:spPr bwMode="gray">
          <a:xfrm>
            <a:off x="8898181" y="2302174"/>
            <a:ext cx="206288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1. Accurate and complete master data</a:t>
            </a:r>
          </a:p>
        </p:txBody>
      </p:sp>
      <p:sp>
        <p:nvSpPr>
          <p:cNvPr id="29" name="Rectangle 28">
            <a:extLst>
              <a:ext uri="{FF2B5EF4-FFF2-40B4-BE49-F238E27FC236}">
                <a16:creationId xmlns:a16="http://schemas.microsoft.com/office/drawing/2014/main" id="{DA6343B7-C2B6-709C-75DA-E98895DEFAA1}"/>
              </a:ext>
            </a:extLst>
          </p:cNvPr>
          <p:cNvSpPr/>
          <p:nvPr/>
        </p:nvSpPr>
        <p:spPr bwMode="gray">
          <a:xfrm>
            <a:off x="8898181" y="3056591"/>
            <a:ext cx="206288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2. Final agreement on Contract and pricing</a:t>
            </a:r>
          </a:p>
        </p:txBody>
      </p:sp>
      <p:sp>
        <p:nvSpPr>
          <p:cNvPr id="30" name="Rectangle 29">
            <a:extLst>
              <a:ext uri="{FF2B5EF4-FFF2-40B4-BE49-F238E27FC236}">
                <a16:creationId xmlns:a16="http://schemas.microsoft.com/office/drawing/2014/main" id="{4EAD863C-124E-9750-437E-4E4179AFEE0A}"/>
              </a:ext>
            </a:extLst>
          </p:cNvPr>
          <p:cNvSpPr/>
          <p:nvPr/>
        </p:nvSpPr>
        <p:spPr bwMode="gray">
          <a:xfrm>
            <a:off x="8898181" y="3805947"/>
            <a:ext cx="206288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3. Payment &amp; Direct &amp; indirect goods received</a:t>
            </a:r>
          </a:p>
        </p:txBody>
      </p:sp>
      <p:sp>
        <p:nvSpPr>
          <p:cNvPr id="31" name="Rectangle 30">
            <a:extLst>
              <a:ext uri="{FF2B5EF4-FFF2-40B4-BE49-F238E27FC236}">
                <a16:creationId xmlns:a16="http://schemas.microsoft.com/office/drawing/2014/main" id="{175473C8-4999-B97C-0665-A1F61DBDE90B}"/>
              </a:ext>
            </a:extLst>
          </p:cNvPr>
          <p:cNvSpPr/>
          <p:nvPr/>
        </p:nvSpPr>
        <p:spPr bwMode="gray">
          <a:xfrm>
            <a:off x="8898181" y="4567188"/>
            <a:ext cx="2062886" cy="833933"/>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4. FG Inventory Receipt &amp; Reprocessed device available &amp; delivered</a:t>
            </a:r>
          </a:p>
        </p:txBody>
      </p:sp>
      <p:sp>
        <p:nvSpPr>
          <p:cNvPr id="32" name="Rectangle 31">
            <a:extLst>
              <a:ext uri="{FF2B5EF4-FFF2-40B4-BE49-F238E27FC236}">
                <a16:creationId xmlns:a16="http://schemas.microsoft.com/office/drawing/2014/main" id="{42AAAB63-9CFA-BC87-3466-16AE0E0981EF}"/>
              </a:ext>
            </a:extLst>
          </p:cNvPr>
          <p:cNvSpPr/>
          <p:nvPr/>
        </p:nvSpPr>
        <p:spPr bwMode="gray">
          <a:xfrm>
            <a:off x="11706258" y="2302173"/>
            <a:ext cx="1546474"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External Sterilmed customer</a:t>
            </a:r>
          </a:p>
        </p:txBody>
      </p:sp>
      <p:sp>
        <p:nvSpPr>
          <p:cNvPr id="33" name="Rectangle 32">
            <a:extLst>
              <a:ext uri="{FF2B5EF4-FFF2-40B4-BE49-F238E27FC236}">
                <a16:creationId xmlns:a16="http://schemas.microsoft.com/office/drawing/2014/main" id="{521580E9-93D9-F84E-658C-7604D3988D72}"/>
              </a:ext>
            </a:extLst>
          </p:cNvPr>
          <p:cNvSpPr/>
          <p:nvPr/>
        </p:nvSpPr>
        <p:spPr bwMode="gray">
          <a:xfrm>
            <a:off x="11704929" y="3039845"/>
            <a:ext cx="1546474"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Reprocessing &amp; support functions</a:t>
            </a:r>
          </a:p>
        </p:txBody>
      </p:sp>
      <p:sp>
        <p:nvSpPr>
          <p:cNvPr id="35" name="Rectangle 34">
            <a:extLst>
              <a:ext uri="{FF2B5EF4-FFF2-40B4-BE49-F238E27FC236}">
                <a16:creationId xmlns:a16="http://schemas.microsoft.com/office/drawing/2014/main" id="{629128C7-E151-DCC2-9FF1-9155566F3267}"/>
              </a:ext>
            </a:extLst>
          </p:cNvPr>
          <p:cNvSpPr/>
          <p:nvPr/>
        </p:nvSpPr>
        <p:spPr bwMode="gray">
          <a:xfrm>
            <a:off x="3867030" y="6162362"/>
            <a:ext cx="2057400" cy="798876"/>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6. Request to maintain / deactivate  Sterilmed customer</a:t>
            </a:r>
          </a:p>
        </p:txBody>
      </p:sp>
      <p:sp>
        <p:nvSpPr>
          <p:cNvPr id="36" name="Rectangle 35">
            <a:extLst>
              <a:ext uri="{FF2B5EF4-FFF2-40B4-BE49-F238E27FC236}">
                <a16:creationId xmlns:a16="http://schemas.microsoft.com/office/drawing/2014/main" id="{1870F8E9-FEC3-DD11-7086-3804300D27B0}"/>
              </a:ext>
            </a:extLst>
          </p:cNvPr>
          <p:cNvSpPr/>
          <p:nvPr/>
        </p:nvSpPr>
        <p:spPr bwMode="gray">
          <a:xfrm>
            <a:off x="1649551" y="5893099"/>
            <a:ext cx="162116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Pricing &amp; Contracting</a:t>
            </a:r>
          </a:p>
        </p:txBody>
      </p:sp>
      <p:sp>
        <p:nvSpPr>
          <p:cNvPr id="37" name="Rectangle 36">
            <a:extLst>
              <a:ext uri="{FF2B5EF4-FFF2-40B4-BE49-F238E27FC236}">
                <a16:creationId xmlns:a16="http://schemas.microsoft.com/office/drawing/2014/main" id="{473589B4-3E08-631E-9E04-7595AA02F59C}"/>
              </a:ext>
            </a:extLst>
          </p:cNvPr>
          <p:cNvSpPr/>
          <p:nvPr/>
        </p:nvSpPr>
        <p:spPr bwMode="gray">
          <a:xfrm>
            <a:off x="8898181" y="5544655"/>
            <a:ext cx="206288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5. Invoice creation and payment processed</a:t>
            </a:r>
          </a:p>
        </p:txBody>
      </p:sp>
      <p:sp>
        <p:nvSpPr>
          <p:cNvPr id="38" name="Rectangle 37">
            <a:extLst>
              <a:ext uri="{FF2B5EF4-FFF2-40B4-BE49-F238E27FC236}">
                <a16:creationId xmlns:a16="http://schemas.microsoft.com/office/drawing/2014/main" id="{45BFB878-70E6-0A52-0444-9B471E61989F}"/>
              </a:ext>
            </a:extLst>
          </p:cNvPr>
          <p:cNvSpPr/>
          <p:nvPr/>
        </p:nvSpPr>
        <p:spPr bwMode="gray">
          <a:xfrm>
            <a:off x="8898181" y="6312752"/>
            <a:ext cx="2062886" cy="396108"/>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6. Deactivated account</a:t>
            </a:r>
          </a:p>
        </p:txBody>
      </p:sp>
      <p:sp>
        <p:nvSpPr>
          <p:cNvPr id="39" name="Rectangle 38">
            <a:extLst>
              <a:ext uri="{FF2B5EF4-FFF2-40B4-BE49-F238E27FC236}">
                <a16:creationId xmlns:a16="http://schemas.microsoft.com/office/drawing/2014/main" id="{CA50AD49-B0A4-3C4E-1BE7-7E6C26E033B0}"/>
              </a:ext>
            </a:extLst>
          </p:cNvPr>
          <p:cNvSpPr/>
          <p:nvPr/>
        </p:nvSpPr>
        <p:spPr bwMode="gray">
          <a:xfrm>
            <a:off x="11668912" y="3805946"/>
            <a:ext cx="1621166" cy="396108"/>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Customer service </a:t>
            </a:r>
          </a:p>
        </p:txBody>
      </p:sp>
      <p:sp>
        <p:nvSpPr>
          <p:cNvPr id="40" name="Rectangle 39">
            <a:extLst>
              <a:ext uri="{FF2B5EF4-FFF2-40B4-BE49-F238E27FC236}">
                <a16:creationId xmlns:a16="http://schemas.microsoft.com/office/drawing/2014/main" id="{905FBB41-D061-CAB2-8BD9-19853F681EDB}"/>
              </a:ext>
            </a:extLst>
          </p:cNvPr>
          <p:cNvSpPr/>
          <p:nvPr/>
        </p:nvSpPr>
        <p:spPr bwMode="gray">
          <a:xfrm>
            <a:off x="11668912" y="4341179"/>
            <a:ext cx="1621166" cy="839306"/>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Master data management (MDM) team</a:t>
            </a:r>
          </a:p>
        </p:txBody>
      </p:sp>
      <p:sp>
        <p:nvSpPr>
          <p:cNvPr id="41" name="Rectangle 40">
            <a:extLst>
              <a:ext uri="{FF2B5EF4-FFF2-40B4-BE49-F238E27FC236}">
                <a16:creationId xmlns:a16="http://schemas.microsoft.com/office/drawing/2014/main" id="{C45B2997-505E-475E-48AC-D8287BE5554D}"/>
              </a:ext>
            </a:extLst>
          </p:cNvPr>
          <p:cNvSpPr/>
          <p:nvPr/>
        </p:nvSpPr>
        <p:spPr bwMode="gray">
          <a:xfrm>
            <a:off x="11668912" y="5313264"/>
            <a:ext cx="1621166" cy="396108"/>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Finance Teams</a:t>
            </a:r>
          </a:p>
        </p:txBody>
      </p:sp>
      <p:sp>
        <p:nvSpPr>
          <p:cNvPr id="42" name="Rectangle 41">
            <a:extLst>
              <a:ext uri="{FF2B5EF4-FFF2-40B4-BE49-F238E27FC236}">
                <a16:creationId xmlns:a16="http://schemas.microsoft.com/office/drawing/2014/main" id="{BCA56DA9-2AB9-CB06-ED9B-B59349559C65}"/>
              </a:ext>
            </a:extLst>
          </p:cNvPr>
          <p:cNvSpPr/>
          <p:nvPr/>
        </p:nvSpPr>
        <p:spPr bwMode="gray">
          <a:xfrm>
            <a:off x="11667583" y="5842151"/>
            <a:ext cx="1621166" cy="617707"/>
          </a:xfrm>
          <a:prstGeom prst="rect">
            <a:avLst/>
          </a:prstGeom>
          <a:solidFill>
            <a:schemeClr val="bg1">
              <a:lumMod val="95000"/>
            </a:schemeClr>
          </a:solidFill>
          <a:ln w="19050">
            <a:noFill/>
          </a:ln>
          <a:effectLst/>
        </p:spPr>
        <p:txBody>
          <a:bodyPr lIns="86411" tIns="86411" rIns="86411" bIns="86411" rtlCol="0" anchor="ctr">
            <a:noAutofit/>
          </a:bodyPr>
          <a:lstStyle/>
          <a:p>
            <a:pPr algn="ctr" defTabSz="1074377" fontAlgn="auto">
              <a:spcBef>
                <a:spcPts val="0"/>
              </a:spcBef>
              <a:spcAft>
                <a:spcPts val="0"/>
              </a:spcAft>
              <a:buClr>
                <a:srgbClr val="000000"/>
              </a:buClr>
              <a:defRPr/>
            </a:pPr>
            <a:r>
              <a:rPr lang="en-US" sz="1440" kern="0" dirty="0">
                <a:solidFill>
                  <a:srgbClr val="000000"/>
                </a:solidFill>
                <a:latin typeface="Johnson Text"/>
                <a:ea typeface="+mn-ea"/>
                <a:cs typeface="Arial" pitchFamily="34" charset="0"/>
              </a:rPr>
              <a:t>Pricing &amp; Contracting</a:t>
            </a:r>
          </a:p>
        </p:txBody>
      </p:sp>
    </p:spTree>
    <p:extLst>
      <p:ext uri="{BB962C8B-B14F-4D97-AF65-F5344CB8AC3E}">
        <p14:creationId xmlns:p14="http://schemas.microsoft.com/office/powerpoint/2010/main" val="34361309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Diagram 46">
            <a:extLst>
              <a:ext uri="{FF2B5EF4-FFF2-40B4-BE49-F238E27FC236}">
                <a16:creationId xmlns:a16="http://schemas.microsoft.com/office/drawing/2014/main" id="{83C62EF3-D876-FDB5-3433-C891DA4578E4}"/>
              </a:ext>
            </a:extLst>
          </p:cNvPr>
          <p:cNvGraphicFramePr/>
          <p:nvPr/>
        </p:nvGraphicFramePr>
        <p:xfrm>
          <a:off x="924400" y="4047979"/>
          <a:ext cx="13372247" cy="44982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5FA1A3-74D0-FAF6-15BA-87FA04727195}"/>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Text"/>
                <a:ea typeface="ヒラギノ角ゴ ProN W3"/>
                <a:cs typeface="+mn-cs"/>
              </a:rPr>
              <a:t>SIPOC Level Current State Process</a:t>
            </a:r>
            <a:endParaRPr lang="en-US" sz="5280" dirty="0">
              <a:solidFill>
                <a:srgbClr val="F4F4F4"/>
              </a:solidFill>
              <a:latin typeface="Johnson Text"/>
              <a:ea typeface="ヒラギノ角ゴ ProN W3"/>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9" name="Text Placeholder 3">
            <a:extLst>
              <a:ext uri="{FF2B5EF4-FFF2-40B4-BE49-F238E27FC236}">
                <a16:creationId xmlns:a16="http://schemas.microsoft.com/office/drawing/2014/main" id="{981D3029-62EE-1CA0-CA36-97B714A5F8C0}"/>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pPr>
            <a:r>
              <a:rPr lang="en-US" sz="2400" dirty="0">
                <a:solidFill>
                  <a:srgbClr val="000000"/>
                </a:solidFill>
                <a:latin typeface="Johnson Text"/>
              </a:rPr>
              <a:t>Sterilmed ERP Migration – Tech Design Phase 0 – End to End Current State Process</a:t>
            </a:r>
          </a:p>
        </p:txBody>
      </p:sp>
      <p:graphicFrame>
        <p:nvGraphicFramePr>
          <p:cNvPr id="44" name="Diagram 43">
            <a:extLst>
              <a:ext uri="{FF2B5EF4-FFF2-40B4-BE49-F238E27FC236}">
                <a16:creationId xmlns:a16="http://schemas.microsoft.com/office/drawing/2014/main" id="{87C723ED-D5B6-0BE8-2C66-580A4899B78F}"/>
              </a:ext>
            </a:extLst>
          </p:cNvPr>
          <p:cNvGraphicFramePr/>
          <p:nvPr/>
        </p:nvGraphicFramePr>
        <p:xfrm>
          <a:off x="2574632" y="1646005"/>
          <a:ext cx="10071781" cy="24019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6" name="Diagram 45">
            <a:extLst>
              <a:ext uri="{FF2B5EF4-FFF2-40B4-BE49-F238E27FC236}">
                <a16:creationId xmlns:a16="http://schemas.microsoft.com/office/drawing/2014/main" id="{54ECAF9F-6F18-C3CD-A989-DF2AB6FD2BC7}"/>
              </a:ext>
            </a:extLst>
          </p:cNvPr>
          <p:cNvGraphicFramePr/>
          <p:nvPr/>
        </p:nvGraphicFramePr>
        <p:xfrm>
          <a:off x="431679" y="2292308"/>
          <a:ext cx="13372247" cy="449820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1964582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5FA1A3-74D0-FAF6-15BA-87FA04727195}"/>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Display"/>
                <a:ea typeface="ヒラギノ角ゴ ProN W3"/>
                <a:cs typeface="+mn-cs"/>
              </a:rPr>
              <a:t>Current State Process Flow &amp; Measurement</a:t>
            </a:r>
            <a:endParaRPr lang="en-US" sz="5280" dirty="0">
              <a:solidFill>
                <a:srgbClr val="F4F4F4"/>
              </a:solidFill>
              <a:latin typeface="Johnson Display"/>
              <a:ea typeface="ヒラギノ角ゴ ProN W3"/>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graphicFrame>
        <p:nvGraphicFramePr>
          <p:cNvPr id="12" name="Content Placeholder 1">
            <a:extLst>
              <a:ext uri="{FF2B5EF4-FFF2-40B4-BE49-F238E27FC236}">
                <a16:creationId xmlns:a16="http://schemas.microsoft.com/office/drawing/2014/main" id="{9ACD2049-0168-EC50-D52E-44B3A52BB2AA}"/>
              </a:ext>
            </a:extLst>
          </p:cNvPr>
          <p:cNvGraphicFramePr>
            <a:graphicFrameLocks noGrp="1"/>
          </p:cNvGraphicFramePr>
          <p:nvPr>
            <p:ph sz="quarter" idx="15"/>
          </p:nvPr>
        </p:nvGraphicFramePr>
        <p:xfrm>
          <a:off x="711965" y="5465837"/>
          <a:ext cx="6710745" cy="2262378"/>
        </p:xfrm>
        <a:graphic>
          <a:graphicData uri="http://schemas.openxmlformats.org/drawingml/2006/table">
            <a:tbl>
              <a:tblPr firstRow="1" bandRow="1">
                <a:tableStyleId>{5C22544A-7EE6-4342-B048-85BDC9FD1C3A}</a:tableStyleId>
              </a:tblPr>
              <a:tblGrid>
                <a:gridCol w="4950048">
                  <a:extLst>
                    <a:ext uri="{9D8B030D-6E8A-4147-A177-3AD203B41FA5}">
                      <a16:colId xmlns:a16="http://schemas.microsoft.com/office/drawing/2014/main" val="3043696215"/>
                    </a:ext>
                  </a:extLst>
                </a:gridCol>
                <a:gridCol w="808538">
                  <a:extLst>
                    <a:ext uri="{9D8B030D-6E8A-4147-A177-3AD203B41FA5}">
                      <a16:colId xmlns:a16="http://schemas.microsoft.com/office/drawing/2014/main" val="3652362362"/>
                    </a:ext>
                  </a:extLst>
                </a:gridCol>
                <a:gridCol w="952159">
                  <a:extLst>
                    <a:ext uri="{9D8B030D-6E8A-4147-A177-3AD203B41FA5}">
                      <a16:colId xmlns:a16="http://schemas.microsoft.com/office/drawing/2014/main" val="2817050212"/>
                    </a:ext>
                  </a:extLst>
                </a:gridCol>
              </a:tblGrid>
              <a:tr h="365760">
                <a:tc>
                  <a:txBody>
                    <a:bodyPr/>
                    <a:lstStyle/>
                    <a:p>
                      <a:pPr marL="0" algn="l" defTabSz="345643" rtl="0" eaLnBrk="1" latinLnBrk="0" hangingPunct="1"/>
                      <a:r>
                        <a:rPr lang="en-US" sz="1700" b="0" kern="1200" dirty="0">
                          <a:solidFill>
                            <a:schemeClr val="bg1"/>
                          </a:solidFill>
                          <a:latin typeface="+mn-lt"/>
                          <a:ea typeface="+mn-ea"/>
                          <a:cs typeface="+mn-cs"/>
                        </a:rPr>
                        <a:t>Process Metric</a:t>
                      </a:r>
                    </a:p>
                  </a:txBody>
                  <a:tcPr marL="109728" marR="109728" marT="54864" marB="54864"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a:txBody>
                    <a:bodyPr/>
                    <a:lstStyle/>
                    <a:p>
                      <a:pPr marL="0" algn="ctr" defTabSz="345643" rtl="0" eaLnBrk="1" latinLnBrk="0" hangingPunct="1"/>
                      <a:r>
                        <a:rPr lang="en-US" sz="1700" b="0" kern="1200" dirty="0">
                          <a:solidFill>
                            <a:schemeClr val="bg1"/>
                          </a:solidFill>
                          <a:latin typeface="+mn-lt"/>
                          <a:ea typeface="+mn-ea"/>
                          <a:cs typeface="+mn-cs"/>
                        </a:rPr>
                        <a:t>AS-I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algn="ctr" defTabSz="345643" rtl="0" eaLnBrk="1" latinLnBrk="0" hangingPunct="1"/>
                      <a:r>
                        <a:rPr lang="en-US" sz="1700" b="0" kern="1200" dirty="0">
                          <a:solidFill>
                            <a:schemeClr val="bg1"/>
                          </a:solidFill>
                          <a:latin typeface="+mn-lt"/>
                          <a:ea typeface="+mn-ea"/>
                          <a:cs typeface="+mn-cs"/>
                        </a:rPr>
                        <a:t>TO-BE</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323590881"/>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Total Mid to High Level Step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marL="0" marR="0" lvl="0" indent="0" algn="ctr" defTabSz="345643" rtl="0" eaLnBrk="1" fontAlgn="ctr"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493</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2336862519"/>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Value Added (VA) Mid to High Level Step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458</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1690902826"/>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Non-Value-Added Mid to High Level Step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35</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4078230853"/>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Hand Off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89</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3920798231"/>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Cycle Time (days) For All Contracting Agreement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17</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1776264192"/>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Cycle Time (days) Contracting Excluding PCL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25</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3488352591"/>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Touch Time (hours) Reduction</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899</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3445570709"/>
                  </a:ext>
                </a:extLst>
              </a:tr>
            </a:tbl>
          </a:graphicData>
        </a:graphic>
      </p:graphicFrame>
      <p:graphicFrame>
        <p:nvGraphicFramePr>
          <p:cNvPr id="15" name="Content Placeholder 1">
            <a:extLst>
              <a:ext uri="{FF2B5EF4-FFF2-40B4-BE49-F238E27FC236}">
                <a16:creationId xmlns:a16="http://schemas.microsoft.com/office/drawing/2014/main" id="{BCE13FD2-CE3A-4FF0-E07A-B8F451F6224A}"/>
              </a:ext>
            </a:extLst>
          </p:cNvPr>
          <p:cNvGraphicFramePr>
            <a:graphicFrameLocks/>
          </p:cNvGraphicFramePr>
          <p:nvPr/>
        </p:nvGraphicFramePr>
        <p:xfrm>
          <a:off x="7508052" y="5465837"/>
          <a:ext cx="6710745" cy="1991868"/>
        </p:xfrm>
        <a:graphic>
          <a:graphicData uri="http://schemas.openxmlformats.org/drawingml/2006/table">
            <a:tbl>
              <a:tblPr firstRow="1" bandRow="1">
                <a:tableStyleId>{5C22544A-7EE6-4342-B048-85BDC9FD1C3A}</a:tableStyleId>
              </a:tblPr>
              <a:tblGrid>
                <a:gridCol w="4950048">
                  <a:extLst>
                    <a:ext uri="{9D8B030D-6E8A-4147-A177-3AD203B41FA5}">
                      <a16:colId xmlns:a16="http://schemas.microsoft.com/office/drawing/2014/main" val="3043696215"/>
                    </a:ext>
                  </a:extLst>
                </a:gridCol>
                <a:gridCol w="808538">
                  <a:extLst>
                    <a:ext uri="{9D8B030D-6E8A-4147-A177-3AD203B41FA5}">
                      <a16:colId xmlns:a16="http://schemas.microsoft.com/office/drawing/2014/main" val="3652362362"/>
                    </a:ext>
                  </a:extLst>
                </a:gridCol>
                <a:gridCol w="952159">
                  <a:extLst>
                    <a:ext uri="{9D8B030D-6E8A-4147-A177-3AD203B41FA5}">
                      <a16:colId xmlns:a16="http://schemas.microsoft.com/office/drawing/2014/main" val="2817050212"/>
                    </a:ext>
                  </a:extLst>
                </a:gridCol>
              </a:tblGrid>
              <a:tr h="365760">
                <a:tc>
                  <a:txBody>
                    <a:bodyPr/>
                    <a:lstStyle/>
                    <a:p>
                      <a:pPr marL="0" algn="l" defTabSz="345643" rtl="0" eaLnBrk="1" latinLnBrk="0" hangingPunct="1"/>
                      <a:r>
                        <a:rPr lang="en-US" sz="1700" b="0" kern="1200" dirty="0">
                          <a:solidFill>
                            <a:schemeClr val="bg1"/>
                          </a:solidFill>
                          <a:latin typeface="+mn-lt"/>
                          <a:ea typeface="+mn-ea"/>
                          <a:cs typeface="+mn-cs"/>
                        </a:rPr>
                        <a:t>Process Metric</a:t>
                      </a:r>
                    </a:p>
                  </a:txBody>
                  <a:tcPr marL="109728" marR="109728" marT="54864" marB="54864"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a:txBody>
                    <a:bodyPr/>
                    <a:lstStyle/>
                    <a:p>
                      <a:pPr marL="0" algn="ctr" defTabSz="345643" rtl="0" eaLnBrk="1" latinLnBrk="0" hangingPunct="1"/>
                      <a:r>
                        <a:rPr lang="en-US" sz="1700" b="0" kern="1200" dirty="0">
                          <a:solidFill>
                            <a:schemeClr val="bg1"/>
                          </a:solidFill>
                          <a:latin typeface="+mn-lt"/>
                          <a:ea typeface="+mn-ea"/>
                          <a:cs typeface="+mn-cs"/>
                        </a:rPr>
                        <a:t>AS-I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algn="ctr" defTabSz="345643" rtl="0" eaLnBrk="1" latinLnBrk="0" hangingPunct="1"/>
                      <a:r>
                        <a:rPr lang="en-US" sz="1700" b="0" kern="1200" dirty="0">
                          <a:solidFill>
                            <a:schemeClr val="bg1"/>
                          </a:solidFill>
                          <a:latin typeface="+mn-lt"/>
                          <a:ea typeface="+mn-ea"/>
                          <a:cs typeface="+mn-cs"/>
                        </a:rPr>
                        <a:t>TO-BE</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323590881"/>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Rework Loop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19</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1227060078"/>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Independent Starts in the Proces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27</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624892580"/>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of Pain Points </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23</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alpha val="80000"/>
                      </a:schemeClr>
                    </a:solidFill>
                  </a:tcPr>
                </a:tc>
                <a:extLst>
                  <a:ext uri="{0D108BD9-81ED-4DB2-BD59-A6C34878D82A}">
                    <a16:rowId xmlns:a16="http://schemas.microsoft.com/office/drawing/2014/main" val="1699460818"/>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of Process Improvement Ideas</a:t>
                      </a:r>
                    </a:p>
                  </a:txBody>
                  <a:tcPr marR="11430" marT="1143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13</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alpha val="80000"/>
                      </a:schemeClr>
                    </a:solidFill>
                  </a:tcPr>
                </a:tc>
                <a:extLst>
                  <a:ext uri="{0D108BD9-81ED-4DB2-BD59-A6C34878D82A}">
                    <a16:rowId xmlns:a16="http://schemas.microsoft.com/office/drawing/2014/main" val="2494120987"/>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 of Sterilmed Business Capability Requirements</a:t>
                      </a:r>
                    </a:p>
                  </a:txBody>
                  <a:tcPr marR="11430" marT="11430" marB="0" anchor="ctr">
                    <a:lnR w="38100" cap="flat" cmpd="sng" algn="ctr">
                      <a:solidFill>
                        <a:schemeClr val="bg1"/>
                      </a:solidFill>
                      <a:prstDash val="solid"/>
                      <a:round/>
                      <a:headEnd type="none" w="med" len="med"/>
                      <a:tailEnd type="none" w="med" len="med"/>
                    </a:lnR>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11</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lumMod val="95000"/>
                        <a:alpha val="80000"/>
                      </a:schemeClr>
                    </a:solidFill>
                  </a:tcPr>
                </a:tc>
                <a:extLst>
                  <a:ext uri="{0D108BD9-81ED-4DB2-BD59-A6C34878D82A}">
                    <a16:rowId xmlns:a16="http://schemas.microsoft.com/office/drawing/2014/main" val="2408532020"/>
                  </a:ext>
                </a:extLst>
              </a:tr>
              <a:tr h="267462">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700" b="0" kern="0" dirty="0">
                          <a:solidFill>
                            <a:schemeClr val="tx2"/>
                          </a:solidFill>
                          <a:latin typeface="+mn-lt"/>
                          <a:ea typeface="+mn-ea"/>
                          <a:cs typeface="+mn-cs"/>
                        </a:rPr>
                        <a:t>Sterilmed growth rate year over year percentage</a:t>
                      </a:r>
                    </a:p>
                  </a:txBody>
                  <a:tcPr marR="11430" marT="11430" marB="0" anchor="ctr">
                    <a:lnR w="38100" cap="flat" cmpd="sng" algn="ctr">
                      <a:solidFill>
                        <a:schemeClr val="bg1"/>
                      </a:solidFill>
                      <a:prstDash val="solid"/>
                      <a:round/>
                      <a:headEnd type="none" w="med" len="med"/>
                      <a:tailEnd type="none" w="med" len="med"/>
                    </a:lnR>
                    <a:solidFill>
                      <a:schemeClr val="bg1">
                        <a:lumMod val="95000"/>
                        <a:alpha val="80000"/>
                      </a:schemeClr>
                    </a:solidFill>
                  </a:tcPr>
                </a:tc>
                <a:tc>
                  <a:txBody>
                    <a:bodyPr/>
                    <a:lstStyle/>
                    <a:p>
                      <a:pPr algn="ctr" fontAlgn="ctr"/>
                      <a:r>
                        <a:rPr lang="en-US" sz="1700" b="0" i="0" u="none" strike="noStrike" dirty="0">
                          <a:solidFill>
                            <a:schemeClr val="tx2">
                              <a:lumMod val="75000"/>
                              <a:lumOff val="25000"/>
                            </a:schemeClr>
                          </a:solidFill>
                          <a:effectLst/>
                          <a:latin typeface="+mn-lt"/>
                          <a:cs typeface="Arial" panose="020B0604020202020204" pitchFamily="34" charset="0"/>
                        </a:rPr>
                        <a:t>47%</a:t>
                      </a: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lumMod val="95000"/>
                        <a:alpha val="80000"/>
                      </a:schemeClr>
                    </a:solidFill>
                  </a:tcPr>
                </a:tc>
                <a:tc>
                  <a:txBody>
                    <a:bodyPr/>
                    <a:lstStyle/>
                    <a:p>
                      <a:pPr algn="ctr" fontAlgn="ctr"/>
                      <a:endParaRPr lang="en-US" sz="1700" b="0" i="0" u="none" strike="noStrike" dirty="0">
                        <a:solidFill>
                          <a:schemeClr val="tx2">
                            <a:lumMod val="75000"/>
                            <a:lumOff val="25000"/>
                          </a:schemeClr>
                        </a:solidFill>
                        <a:effectLst/>
                        <a:latin typeface="+mn-lt"/>
                        <a:cs typeface="Arial" panose="020B0604020202020204" pitchFamily="34" charset="0"/>
                      </a:endParaRPr>
                    </a:p>
                  </a:txBody>
                  <a:tcPr marL="11430" marR="11430" marT="1143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bg1">
                        <a:lumMod val="95000"/>
                        <a:alpha val="80000"/>
                      </a:schemeClr>
                    </a:solidFill>
                  </a:tcPr>
                </a:tc>
                <a:extLst>
                  <a:ext uri="{0D108BD9-81ED-4DB2-BD59-A6C34878D82A}">
                    <a16:rowId xmlns:a16="http://schemas.microsoft.com/office/drawing/2014/main" val="1782903323"/>
                  </a:ext>
                </a:extLst>
              </a:tr>
            </a:tbl>
          </a:graphicData>
        </a:graphic>
      </p:graphicFrame>
      <p:pic>
        <p:nvPicPr>
          <p:cNvPr id="16" name="Picture 15">
            <a:extLst>
              <a:ext uri="{FF2B5EF4-FFF2-40B4-BE49-F238E27FC236}">
                <a16:creationId xmlns:a16="http://schemas.microsoft.com/office/drawing/2014/main" id="{58110563-9CE1-5E41-59F6-17EDFC575BE1}"/>
              </a:ext>
            </a:extLst>
          </p:cNvPr>
          <p:cNvPicPr>
            <a:picLocks noChangeAspect="1"/>
          </p:cNvPicPr>
          <p:nvPr/>
        </p:nvPicPr>
        <p:blipFill>
          <a:blip r:embed="rId2"/>
          <a:stretch>
            <a:fillRect/>
          </a:stretch>
        </p:blipFill>
        <p:spPr>
          <a:xfrm>
            <a:off x="711965" y="1018848"/>
            <a:ext cx="13206470" cy="4306405"/>
          </a:xfrm>
          <a:prstGeom prst="rect">
            <a:avLst/>
          </a:prstGeom>
        </p:spPr>
      </p:pic>
    </p:spTree>
    <p:extLst>
      <p:ext uri="{BB962C8B-B14F-4D97-AF65-F5344CB8AC3E}">
        <p14:creationId xmlns:p14="http://schemas.microsoft.com/office/powerpoint/2010/main" val="248349658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5FA1A3-74D0-FAF6-15BA-87FA04727195}"/>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Display"/>
                <a:ea typeface="ヒラギノ角ゴ ProN W3"/>
                <a:cs typeface="+mn-cs"/>
              </a:rPr>
              <a:t>Current State Process Analysis</a:t>
            </a:r>
            <a:endParaRPr lang="en-US" sz="5280" dirty="0">
              <a:solidFill>
                <a:srgbClr val="F4F4F4"/>
              </a:solidFill>
              <a:latin typeface="Johnson Display"/>
              <a:ea typeface="ヒラギノ角ゴ ProN W3"/>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9" name="Text Placeholder 3">
            <a:extLst>
              <a:ext uri="{FF2B5EF4-FFF2-40B4-BE49-F238E27FC236}">
                <a16:creationId xmlns:a16="http://schemas.microsoft.com/office/drawing/2014/main" id="{981D3029-62EE-1CA0-CA36-97B714A5F8C0}"/>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pPr>
            <a:r>
              <a:rPr lang="en-US" sz="2400" dirty="0">
                <a:solidFill>
                  <a:srgbClr val="000000"/>
                </a:solidFill>
                <a:latin typeface="Johnson Text"/>
              </a:rPr>
              <a:t>Sterilmed ERP Migration – Tech Design Phase 0 – End to End Mid to High-Level Current State Process</a:t>
            </a:r>
          </a:p>
        </p:txBody>
      </p:sp>
      <p:graphicFrame>
        <p:nvGraphicFramePr>
          <p:cNvPr id="5" name="Table 4">
            <a:extLst>
              <a:ext uri="{FF2B5EF4-FFF2-40B4-BE49-F238E27FC236}">
                <a16:creationId xmlns:a16="http://schemas.microsoft.com/office/drawing/2014/main" id="{EEA505C5-8326-B5A6-B0EE-AAEACF4F19FB}"/>
              </a:ext>
            </a:extLst>
          </p:cNvPr>
          <p:cNvGraphicFramePr>
            <a:graphicFrameLocks noGrp="1"/>
          </p:cNvGraphicFramePr>
          <p:nvPr>
            <p:extLst>
              <p:ext uri="{D42A27DB-BD31-4B8C-83A1-F6EECF244321}">
                <p14:modId xmlns:p14="http://schemas.microsoft.com/office/powerpoint/2010/main" val="557696752"/>
              </p:ext>
            </p:extLst>
          </p:nvPr>
        </p:nvGraphicFramePr>
        <p:xfrm>
          <a:off x="726305" y="3288954"/>
          <a:ext cx="13177524" cy="4241172"/>
        </p:xfrm>
        <a:graphic>
          <a:graphicData uri="http://schemas.openxmlformats.org/drawingml/2006/table">
            <a:tbl>
              <a:tblPr firstRow="1" bandRow="1">
                <a:tableStyleId>{BC89EF96-8CEA-46FF-86C4-4CE0E7609802}</a:tableStyleId>
              </a:tblPr>
              <a:tblGrid>
                <a:gridCol w="4392508">
                  <a:extLst>
                    <a:ext uri="{9D8B030D-6E8A-4147-A177-3AD203B41FA5}">
                      <a16:colId xmlns:a16="http://schemas.microsoft.com/office/drawing/2014/main" val="2133756967"/>
                    </a:ext>
                  </a:extLst>
                </a:gridCol>
                <a:gridCol w="4392508">
                  <a:extLst>
                    <a:ext uri="{9D8B030D-6E8A-4147-A177-3AD203B41FA5}">
                      <a16:colId xmlns:a16="http://schemas.microsoft.com/office/drawing/2014/main" val="2154143055"/>
                    </a:ext>
                  </a:extLst>
                </a:gridCol>
                <a:gridCol w="4392508">
                  <a:extLst>
                    <a:ext uri="{9D8B030D-6E8A-4147-A177-3AD203B41FA5}">
                      <a16:colId xmlns:a16="http://schemas.microsoft.com/office/drawing/2014/main" val="3279441339"/>
                    </a:ext>
                  </a:extLst>
                </a:gridCol>
              </a:tblGrid>
              <a:tr h="691261">
                <a:tc>
                  <a:txBody>
                    <a:bodyPr/>
                    <a:lstStyle/>
                    <a:p>
                      <a:pPr algn="ctr"/>
                      <a:r>
                        <a:rPr lang="en-US" sz="2400" b="0" dirty="0">
                          <a:solidFill>
                            <a:schemeClr val="bg1"/>
                          </a:solidFill>
                        </a:rPr>
                        <a:t>Process Leverage Point</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400" b="0" dirty="0">
                          <a:solidFill>
                            <a:schemeClr val="bg1"/>
                          </a:solidFill>
                        </a:rPr>
                        <a:t>Pain Point Headline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400" b="0" dirty="0">
                          <a:solidFill>
                            <a:schemeClr val="bg1"/>
                          </a:solidFill>
                        </a:rPr>
                        <a:t>Impact to Process</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16974717"/>
                  </a:ext>
                </a:extLst>
              </a:tr>
              <a:tr h="1051292">
                <a:tc>
                  <a:txBody>
                    <a:bodyPr/>
                    <a:lstStyle/>
                    <a:p>
                      <a:r>
                        <a:rPr lang="en-US" sz="1700" dirty="0">
                          <a:solidFill>
                            <a:schemeClr val="tx1"/>
                          </a:solidFill>
                        </a:rPr>
                        <a:t>The Great Plains system is embedded and integrated into every function and process for the Sterilmed business.</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en-US" sz="1700" dirty="0">
                          <a:solidFill>
                            <a:schemeClr val="tx1"/>
                          </a:solidFill>
                        </a:rPr>
                        <a:t>Microsoft has announced end of support to Great Plains by 2026.</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sv-SE" sz="1700" dirty="0">
                          <a:solidFill>
                            <a:schemeClr val="tx1"/>
                          </a:solidFill>
                        </a:rPr>
                        <a:t>Need to Migrate Sterilmed ERP onto CSS JDE and leverage existing / common processes for USROTC, MDM and Corporte systems.</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1775615683"/>
                  </a:ext>
                </a:extLst>
              </a:tr>
              <a:tr h="1447327">
                <a:tc>
                  <a:txBody>
                    <a:bodyPr/>
                    <a:lstStyle/>
                    <a:p>
                      <a:r>
                        <a:rPr lang="en-US" sz="1700" dirty="0">
                          <a:solidFill>
                            <a:schemeClr val="tx1"/>
                          </a:solidFill>
                        </a:rPr>
                        <a:t>Pricing and Contracting spends about 75% of their time manually tracking keystrokes in the Great Plains system in order to support required business controls.</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en-US" sz="1700" dirty="0">
                          <a:solidFill>
                            <a:schemeClr val="tx1"/>
                          </a:solidFill>
                        </a:rPr>
                        <a:t>Great Plains is not a contracting system so nearly all Pricing and Contracting steps are manually controlled in Access Databases to support the business needs. </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en-US" sz="1700" dirty="0">
                          <a:solidFill>
                            <a:schemeClr val="tx1"/>
                          </a:solidFill>
                        </a:rPr>
                        <a:t>All manual process add up to 800 hours of wasted effort each year that would go away if with a proper Pricing and Contracting system.</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1794130165"/>
                  </a:ext>
                </a:extLst>
              </a:tr>
              <a:tr h="1051292">
                <a:tc>
                  <a:txBody>
                    <a:bodyPr/>
                    <a:lstStyle/>
                    <a:p>
                      <a:r>
                        <a:rPr lang="en-US" sz="1700" dirty="0">
                          <a:solidFill>
                            <a:schemeClr val="tx1"/>
                          </a:solidFill>
                        </a:rPr>
                        <a:t>Sterilmed SMEs have documented 13 process improvement ideas and 11 Sterilmed business capability requirements. </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en-US" sz="1700" dirty="0">
                          <a:solidFill>
                            <a:schemeClr val="tx1"/>
                          </a:solidFill>
                        </a:rPr>
                        <a:t>Sterilmed SMEs have documented 23 pain point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r>
                        <a:rPr lang="sv-SE" sz="1700" dirty="0">
                          <a:solidFill>
                            <a:schemeClr val="tx1"/>
                          </a:solidFill>
                        </a:rPr>
                        <a:t>Need to Migrate Sterilmed ERP onto CSS JDE and leverage existing / common processes for USROTC, MDM and Corporte systems.</a:t>
                      </a:r>
                      <a:endParaRPr lang="en-US" sz="1700" dirty="0">
                        <a:solidFill>
                          <a:schemeClr val="tx1"/>
                        </a:solidFill>
                      </a:endParaRP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3654967522"/>
                  </a:ext>
                </a:extLst>
              </a:tr>
            </a:tbl>
          </a:graphicData>
        </a:graphic>
      </p:graphicFrame>
      <p:pic>
        <p:nvPicPr>
          <p:cNvPr id="12" name="Picture 11">
            <a:extLst>
              <a:ext uri="{FF2B5EF4-FFF2-40B4-BE49-F238E27FC236}">
                <a16:creationId xmlns:a16="http://schemas.microsoft.com/office/drawing/2014/main" id="{51B48E9A-230B-5B03-276D-F6637B85F037}"/>
              </a:ext>
            </a:extLst>
          </p:cNvPr>
          <p:cNvPicPr>
            <a:picLocks noChangeAspect="1"/>
          </p:cNvPicPr>
          <p:nvPr/>
        </p:nvPicPr>
        <p:blipFill>
          <a:blip r:embed="rId2"/>
          <a:stretch>
            <a:fillRect/>
          </a:stretch>
        </p:blipFill>
        <p:spPr>
          <a:xfrm>
            <a:off x="4062642" y="1495327"/>
            <a:ext cx="6505116" cy="1657376"/>
          </a:xfrm>
          <a:prstGeom prst="rect">
            <a:avLst/>
          </a:prstGeom>
        </p:spPr>
      </p:pic>
    </p:spTree>
    <p:extLst>
      <p:ext uri="{BB962C8B-B14F-4D97-AF65-F5344CB8AC3E}">
        <p14:creationId xmlns:p14="http://schemas.microsoft.com/office/powerpoint/2010/main" val="21204276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5FA1A3-74D0-FAF6-15BA-87FA04727195}"/>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Display"/>
                <a:ea typeface="ヒラギノ角ゴ ProN W3"/>
                <a:cs typeface="+mn-cs"/>
              </a:rPr>
              <a:t>Current State Sub-Process Analysis</a:t>
            </a:r>
            <a:endParaRPr lang="en-US" sz="5280" dirty="0">
              <a:solidFill>
                <a:srgbClr val="F4F4F4"/>
              </a:solidFill>
              <a:latin typeface="Johnson Display"/>
              <a:ea typeface="ヒラギノ角ゴ ProN W3"/>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9" name="Text Placeholder 3">
            <a:extLst>
              <a:ext uri="{FF2B5EF4-FFF2-40B4-BE49-F238E27FC236}">
                <a16:creationId xmlns:a16="http://schemas.microsoft.com/office/drawing/2014/main" id="{981D3029-62EE-1CA0-CA36-97B714A5F8C0}"/>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Customer Service Mid-Level Current State Sub-Process</a:t>
            </a:r>
          </a:p>
        </p:txBody>
      </p:sp>
      <p:pic>
        <p:nvPicPr>
          <p:cNvPr id="2" name="Picture 1">
            <a:extLst>
              <a:ext uri="{FF2B5EF4-FFF2-40B4-BE49-F238E27FC236}">
                <a16:creationId xmlns:a16="http://schemas.microsoft.com/office/drawing/2014/main" id="{A0656D71-5448-754F-25DB-28BCA5245E9A}"/>
              </a:ext>
            </a:extLst>
          </p:cNvPr>
          <p:cNvPicPr>
            <a:picLocks noChangeAspect="1"/>
          </p:cNvPicPr>
          <p:nvPr/>
        </p:nvPicPr>
        <p:blipFill>
          <a:blip r:embed="rId2"/>
          <a:stretch>
            <a:fillRect/>
          </a:stretch>
        </p:blipFill>
        <p:spPr>
          <a:xfrm>
            <a:off x="3874119" y="1331159"/>
            <a:ext cx="6881893" cy="2295566"/>
          </a:xfrm>
          <a:prstGeom prst="rect">
            <a:avLst/>
          </a:prstGeom>
        </p:spPr>
      </p:pic>
      <p:graphicFrame>
        <p:nvGraphicFramePr>
          <p:cNvPr id="4" name="Table 3">
            <a:extLst>
              <a:ext uri="{FF2B5EF4-FFF2-40B4-BE49-F238E27FC236}">
                <a16:creationId xmlns:a16="http://schemas.microsoft.com/office/drawing/2014/main" id="{0031A0F1-D69E-302A-4451-5E0CBFA7D348}"/>
              </a:ext>
            </a:extLst>
          </p:cNvPr>
          <p:cNvGraphicFramePr>
            <a:graphicFrameLocks noGrp="1"/>
          </p:cNvGraphicFramePr>
          <p:nvPr/>
        </p:nvGraphicFramePr>
        <p:xfrm>
          <a:off x="460149" y="3677838"/>
          <a:ext cx="13709836" cy="3988104"/>
        </p:xfrm>
        <a:graphic>
          <a:graphicData uri="http://schemas.openxmlformats.org/drawingml/2006/table">
            <a:tbl>
              <a:tblPr firstRow="1" bandRow="1">
                <a:tableStyleId>{BC89EF96-8CEA-46FF-86C4-4CE0E7609802}</a:tableStyleId>
              </a:tblPr>
              <a:tblGrid>
                <a:gridCol w="4591352">
                  <a:extLst>
                    <a:ext uri="{9D8B030D-6E8A-4147-A177-3AD203B41FA5}">
                      <a16:colId xmlns:a16="http://schemas.microsoft.com/office/drawing/2014/main" val="2133756967"/>
                    </a:ext>
                  </a:extLst>
                </a:gridCol>
                <a:gridCol w="4559242">
                  <a:extLst>
                    <a:ext uri="{9D8B030D-6E8A-4147-A177-3AD203B41FA5}">
                      <a16:colId xmlns:a16="http://schemas.microsoft.com/office/drawing/2014/main" val="2154143055"/>
                    </a:ext>
                  </a:extLst>
                </a:gridCol>
                <a:gridCol w="4559242">
                  <a:extLst>
                    <a:ext uri="{9D8B030D-6E8A-4147-A177-3AD203B41FA5}">
                      <a16:colId xmlns:a16="http://schemas.microsoft.com/office/drawing/2014/main" val="3279441339"/>
                    </a:ext>
                  </a:extLst>
                </a:gridCol>
              </a:tblGrid>
              <a:tr h="549960">
                <a:tc>
                  <a:txBody>
                    <a:bodyPr/>
                    <a:lstStyle/>
                    <a:p>
                      <a:pPr algn="ctr"/>
                      <a:r>
                        <a:rPr lang="en-US" sz="2400" b="0" dirty="0">
                          <a:solidFill>
                            <a:schemeClr val="bg1"/>
                          </a:solidFill>
                        </a:rPr>
                        <a:t>Process Leverage Point</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400" b="0" dirty="0">
                          <a:solidFill>
                            <a:schemeClr val="bg1"/>
                          </a:solidFill>
                        </a:rPr>
                        <a:t>Pain Point Headline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400" b="0" dirty="0">
                          <a:solidFill>
                            <a:schemeClr val="bg1"/>
                          </a:solidFill>
                        </a:rPr>
                        <a:t>Impact to Process</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16974717"/>
                  </a:ext>
                </a:extLst>
              </a:tr>
              <a:tr h="877824">
                <a:tc>
                  <a:txBody>
                    <a:bodyPr/>
                    <a:lstStyle/>
                    <a:p>
                      <a:pPr marL="0" algn="l" defTabSz="914363" rtl="0" eaLnBrk="1" latinLnBrk="0" hangingPunct="1"/>
                      <a:r>
                        <a:rPr lang="en-US" sz="1700" kern="1200" dirty="0">
                          <a:solidFill>
                            <a:schemeClr val="tx1"/>
                          </a:solidFill>
                          <a:latin typeface="+mn-lt"/>
                          <a:ea typeface="+mn-ea"/>
                          <a:cs typeface="+mn-cs"/>
                        </a:rPr>
                        <a:t>Order processing flow from GP to Jabil. System is SQL. Orders created in GP flows to Jabil via SQL job Jabil Order.</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algn="l" defTabSz="914363" rtl="0" eaLnBrk="1" latinLnBrk="0" hangingPunct="1"/>
                      <a:r>
                        <a:rPr lang="en-US" sz="1700" kern="1200" dirty="0">
                          <a:solidFill>
                            <a:schemeClr val="tx1"/>
                          </a:solidFill>
                          <a:latin typeface="+mn-lt"/>
                          <a:ea typeface="+mn-ea"/>
                          <a:cs typeface="+mn-cs"/>
                        </a:rPr>
                        <a:t>Great plains has a lot of custom coding support the Jabil GHX EDI order processing that needs to be replicated in USROTC.</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algn="l" defTabSz="914363" rtl="0" eaLnBrk="1" latinLnBrk="0" hangingPunct="1"/>
                      <a:r>
                        <a:rPr lang="sv-SE" sz="1700" kern="1200" dirty="0">
                          <a:solidFill>
                            <a:schemeClr val="tx1"/>
                          </a:solidFill>
                          <a:latin typeface="+mn-lt"/>
                          <a:ea typeface="+mn-ea"/>
                          <a:cs typeface="+mn-cs"/>
                        </a:rPr>
                        <a:t>Need to make sure all the existing Jabil functionality on USROTC system.</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1775615683"/>
                  </a:ext>
                </a:extLst>
              </a:tr>
              <a:tr h="1389888">
                <a:tc>
                  <a:txBody>
                    <a:bodyPr/>
                    <a:lstStyle/>
                    <a:p>
                      <a:pPr marL="0" algn="l" defTabSz="914363" rtl="0" eaLnBrk="1" latinLnBrk="0" hangingPunct="1"/>
                      <a:r>
                        <a:rPr lang="en-US" sz="1700" kern="1200" dirty="0">
                          <a:solidFill>
                            <a:schemeClr val="tx1"/>
                          </a:solidFill>
                          <a:latin typeface="+mn-lt"/>
                          <a:ea typeface="+mn-ea"/>
                          <a:cs typeface="+mn-cs"/>
                        </a:rPr>
                        <a:t>For Auris customers, there are data modifications done to update fields like OPCO Po Number, Customer PO Number, Third party Account Number, Carrier Account Number, Carrier Name,  Zip Code.</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700" kern="1200" dirty="0">
                          <a:solidFill>
                            <a:schemeClr val="tx1"/>
                          </a:solidFill>
                          <a:latin typeface="+mn-lt"/>
                          <a:ea typeface="+mn-ea"/>
                          <a:cs typeface="+mn-cs"/>
                        </a:rPr>
                        <a:t>Auris customers need to have the exact same custom process they have today in Great Plains.</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algn="l" defTabSz="914363" rtl="0" eaLnBrk="1" latinLnBrk="0" hangingPunct="1"/>
                      <a:r>
                        <a:rPr lang="en-US" sz="1700" kern="1200" dirty="0">
                          <a:solidFill>
                            <a:schemeClr val="tx1"/>
                          </a:solidFill>
                          <a:latin typeface="+mn-lt"/>
                          <a:ea typeface="+mn-ea"/>
                          <a:cs typeface="+mn-cs"/>
                        </a:rPr>
                        <a:t>Need to have the same process in USROTC.</a:t>
                      </a: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1794130165"/>
                  </a:ext>
                </a:extLst>
              </a:tr>
              <a:tr h="1133856">
                <a:tc>
                  <a:txBody>
                    <a:bodyPr/>
                    <a:lstStyle/>
                    <a:p>
                      <a:pPr marL="0" algn="l" defTabSz="914363" rtl="0" eaLnBrk="1" latinLnBrk="0" hangingPunct="1"/>
                      <a:r>
                        <a:rPr lang="en-US" sz="1700" kern="1200" dirty="0">
                          <a:solidFill>
                            <a:schemeClr val="tx1"/>
                          </a:solidFill>
                          <a:latin typeface="+mn-lt"/>
                          <a:ea typeface="+mn-ea"/>
                          <a:cs typeface="+mn-cs"/>
                        </a:rPr>
                        <a:t>New system needs to have the shipping options that match Jabil.</a:t>
                      </a:r>
                    </a:p>
                  </a:txBody>
                  <a:tcPr marL="109728" marR="109728" marT="54864" marB="54864"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algn="l" defTabSz="914363" rtl="0" eaLnBrk="1" latinLnBrk="0" hangingPunct="1"/>
                      <a:r>
                        <a:rPr lang="en-US" sz="1700" kern="1200" dirty="0">
                          <a:solidFill>
                            <a:schemeClr val="tx1"/>
                          </a:solidFill>
                          <a:latin typeface="+mn-lt"/>
                          <a:ea typeface="+mn-ea"/>
                          <a:cs typeface="+mn-cs"/>
                        </a:rPr>
                        <a:t>We also still have FedEx options as Auris is trying to use FedEx, but otherwise below are the only options we select today. Just need to ensure we pitch we have something similar going forward. </a:t>
                      </a:r>
                    </a:p>
                  </a:txBody>
                  <a:tcPr marL="109728" marR="109728" marT="54864" marB="5486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700" kern="1200" dirty="0">
                          <a:solidFill>
                            <a:schemeClr val="tx1"/>
                          </a:solidFill>
                          <a:latin typeface="+mn-lt"/>
                          <a:ea typeface="+mn-ea"/>
                          <a:cs typeface="+mn-cs"/>
                        </a:rPr>
                        <a:t>Need to have the same process in USROTC.</a:t>
                      </a:r>
                    </a:p>
                    <a:p>
                      <a:pPr marL="0" algn="l" defTabSz="914363" rtl="0" eaLnBrk="1" latinLnBrk="0" hangingPunct="1"/>
                      <a:endParaRPr lang="en-US" sz="1700" kern="1200" dirty="0">
                        <a:solidFill>
                          <a:schemeClr val="tx1"/>
                        </a:solidFill>
                        <a:latin typeface="+mn-lt"/>
                        <a:ea typeface="+mn-ea"/>
                        <a:cs typeface="+mn-cs"/>
                      </a:endParaRPr>
                    </a:p>
                  </a:txBody>
                  <a:tcPr marL="109728" marR="109728" marT="54864" marB="54864"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80000"/>
                      </a:schemeClr>
                    </a:solidFill>
                  </a:tcPr>
                </a:tc>
                <a:extLst>
                  <a:ext uri="{0D108BD9-81ED-4DB2-BD59-A6C34878D82A}">
                    <a16:rowId xmlns:a16="http://schemas.microsoft.com/office/drawing/2014/main" val="3654967522"/>
                  </a:ext>
                </a:extLst>
              </a:tr>
            </a:tbl>
          </a:graphicData>
        </a:graphic>
      </p:graphicFrame>
    </p:spTree>
    <p:extLst>
      <p:ext uri="{BB962C8B-B14F-4D97-AF65-F5344CB8AC3E}">
        <p14:creationId xmlns:p14="http://schemas.microsoft.com/office/powerpoint/2010/main" val="300848901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C4C0E2-3EFD-FC4C-A95D-34741F33C9B4}"/>
              </a:ext>
            </a:extLst>
          </p:cNvPr>
          <p:cNvSpPr>
            <a:spLocks noGrp="1"/>
          </p:cNvSpPr>
          <p:nvPr>
            <p:ph type="ctrTitle"/>
          </p:nvPr>
        </p:nvSpPr>
        <p:spPr>
          <a:xfrm>
            <a:off x="341767" y="315204"/>
            <a:ext cx="11587343" cy="3141168"/>
          </a:xfrm>
        </p:spPr>
        <p:txBody>
          <a:bodyPr wrap="square" anchor="t">
            <a:normAutofit/>
          </a:bodyPr>
          <a:lstStyle/>
          <a:p>
            <a:r>
              <a:rPr lang="en-US" dirty="0"/>
              <a:t>Analyze</a:t>
            </a:r>
          </a:p>
        </p:txBody>
      </p:sp>
    </p:spTree>
    <p:extLst>
      <p:ext uri="{BB962C8B-B14F-4D97-AF65-F5344CB8AC3E}">
        <p14:creationId xmlns:p14="http://schemas.microsoft.com/office/powerpoint/2010/main" val="4410556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7612A-3A65-2739-C4A1-FE61B086D872}"/>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76DF1FC-115F-CA6F-456B-D47D60B79004}"/>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D2F11B74-F80D-3A6E-AED1-AF9DB6924C60}"/>
              </a:ext>
            </a:extLst>
          </p:cNvPr>
          <p:cNvSpPr txBox="1">
            <a:spLocks/>
          </p:cNvSpPr>
          <p:nvPr/>
        </p:nvSpPr>
        <p:spPr>
          <a:xfrm>
            <a:off x="-133" y="888174"/>
            <a:ext cx="14630400" cy="878262"/>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Mid to high </a:t>
            </a:r>
            <a:r>
              <a:rPr lang="en-US" sz="2400" dirty="0">
                <a:solidFill>
                  <a:srgbClr val="000000"/>
                </a:solidFill>
                <a:latin typeface="Johnson Text"/>
              </a:rPr>
              <a:t>level assessment </a:t>
            </a: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results</a:t>
            </a:r>
            <a:r>
              <a:rPr lang="en-US" sz="2400">
                <a:solidFill>
                  <a:srgbClr val="000000"/>
                </a:solidFill>
                <a:latin typeface="Johnson Text"/>
              </a:rPr>
              <a:t>                                                       </a:t>
            </a:r>
            <a:r>
              <a:rPr lang="en-US" sz="2400" dirty="0">
                <a:solidFill>
                  <a:srgbClr val="000000"/>
                </a:solidFill>
                <a:latin typeface="Johnson Text"/>
              </a:rPr>
              <a:t>as a </a:t>
            </a: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data-centered rationale for an intermediate solution ahead of full TranSCend.  </a:t>
            </a:r>
          </a:p>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endParaRPr lang="en-US" sz="2400" dirty="0">
              <a:solidFill>
                <a:srgbClr val="000000"/>
              </a:solidFill>
              <a:latin typeface="Johnson Text"/>
            </a:endParaRPr>
          </a:p>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endParaRPr kumimoji="0" lang="en-US" sz="2400" b="0" i="0" u="none" strike="noStrike" kern="1200" cap="none" spc="0" normalizeH="0" baseline="0" noProof="0" dirty="0">
              <a:ln>
                <a:noFill/>
              </a:ln>
              <a:solidFill>
                <a:srgbClr val="000000"/>
              </a:solidFill>
              <a:effectLst/>
              <a:uLnTx/>
              <a:uFillTx/>
              <a:latin typeface="Johnson Text"/>
              <a:sym typeface="Arial" pitchFamily="-65" charset="0"/>
            </a:endParaRPr>
          </a:p>
        </p:txBody>
      </p:sp>
      <p:pic>
        <p:nvPicPr>
          <p:cNvPr id="3" name="Picture 2">
            <a:extLst>
              <a:ext uri="{FF2B5EF4-FFF2-40B4-BE49-F238E27FC236}">
                <a16:creationId xmlns:a16="http://schemas.microsoft.com/office/drawing/2014/main" id="{3EA18652-1838-5491-1BEC-F0B50B77FBA6}"/>
              </a:ext>
            </a:extLst>
          </p:cNvPr>
          <p:cNvPicPr>
            <a:picLocks noChangeAspect="1"/>
          </p:cNvPicPr>
          <p:nvPr/>
        </p:nvPicPr>
        <p:blipFill>
          <a:blip r:embed="rId3"/>
          <a:stretch>
            <a:fillRect/>
          </a:stretch>
        </p:blipFill>
        <p:spPr>
          <a:xfrm>
            <a:off x="647271" y="2940719"/>
            <a:ext cx="12904342" cy="3950938"/>
          </a:xfrm>
          <a:prstGeom prst="rect">
            <a:avLst/>
          </a:prstGeom>
        </p:spPr>
      </p:pic>
      <p:sp>
        <p:nvSpPr>
          <p:cNvPr id="5" name="Text Placeholder 2">
            <a:extLst>
              <a:ext uri="{FF2B5EF4-FFF2-40B4-BE49-F238E27FC236}">
                <a16:creationId xmlns:a16="http://schemas.microsoft.com/office/drawing/2014/main" id="{D89C364F-6C7B-0A2D-4162-CDAE6E2D4B4F}"/>
              </a:ext>
            </a:extLst>
          </p:cNvPr>
          <p:cNvSpPr txBox="1">
            <a:spLocks/>
          </p:cNvSpPr>
          <p:nvPr/>
        </p:nvSpPr>
        <p:spPr>
          <a:xfrm>
            <a:off x="3585681" y="2308330"/>
            <a:ext cx="7855361"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dirty="0"/>
              <a:t>2 gaps on 50 Sterilmed Capability Concerns = Fit to Gap of 96%</a:t>
            </a:r>
          </a:p>
        </p:txBody>
      </p:sp>
      <p:sp>
        <p:nvSpPr>
          <p:cNvPr id="6" name="Oval 5">
            <a:extLst>
              <a:ext uri="{FF2B5EF4-FFF2-40B4-BE49-F238E27FC236}">
                <a16:creationId xmlns:a16="http://schemas.microsoft.com/office/drawing/2014/main" id="{EE69EE14-ECF5-BB3B-360A-96821EC8BD4E}"/>
              </a:ext>
            </a:extLst>
          </p:cNvPr>
          <p:cNvSpPr/>
          <p:nvPr/>
        </p:nvSpPr>
        <p:spPr>
          <a:xfrm>
            <a:off x="6831597" y="6544129"/>
            <a:ext cx="534256" cy="4315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7" name="Oval 6">
            <a:extLst>
              <a:ext uri="{FF2B5EF4-FFF2-40B4-BE49-F238E27FC236}">
                <a16:creationId xmlns:a16="http://schemas.microsoft.com/office/drawing/2014/main" id="{4DA23130-E58E-7593-0ECF-9DF1A3702F44}"/>
              </a:ext>
            </a:extLst>
          </p:cNvPr>
          <p:cNvSpPr/>
          <p:nvPr/>
        </p:nvSpPr>
        <p:spPr>
          <a:xfrm>
            <a:off x="8977177" y="6542416"/>
            <a:ext cx="534256" cy="4315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37560423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7F12C-CD3D-56DB-08F0-02EFEF1DE781}"/>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27A0742-2EB8-66F4-025F-B328DB7D9268}"/>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4E24918E-DC74-5281-402A-FD9A087FC11C}"/>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a:t>
            </a:r>
            <a:r>
              <a:rPr lang="en-US" sz="2400" dirty="0">
                <a:solidFill>
                  <a:srgbClr val="000000"/>
                </a:solidFill>
                <a:latin typeface="Johnson Text"/>
              </a:rPr>
              <a:t>Determine Responsibility for Shutting Down Systems</a:t>
            </a:r>
            <a:endParaRPr kumimoji="0" lang="en-US" sz="2400" b="0" i="0" u="none" strike="noStrike" kern="1200" cap="none" spc="0" normalizeH="0" baseline="0" noProof="0" dirty="0">
              <a:ln>
                <a:noFill/>
              </a:ln>
              <a:solidFill>
                <a:srgbClr val="000000"/>
              </a:solidFill>
              <a:effectLst/>
              <a:uLnTx/>
              <a:uFillTx/>
              <a:latin typeface="Johnson Text"/>
              <a:sym typeface="Arial" pitchFamily="-65" charset="0"/>
            </a:endParaRPr>
          </a:p>
        </p:txBody>
      </p:sp>
      <p:pic>
        <p:nvPicPr>
          <p:cNvPr id="5" name="Picture 4">
            <a:extLst>
              <a:ext uri="{FF2B5EF4-FFF2-40B4-BE49-F238E27FC236}">
                <a16:creationId xmlns:a16="http://schemas.microsoft.com/office/drawing/2014/main" id="{21F096DF-81E1-980F-96EA-0CC6B4CAFC58}"/>
              </a:ext>
            </a:extLst>
          </p:cNvPr>
          <p:cNvPicPr>
            <a:picLocks noChangeAspect="1"/>
          </p:cNvPicPr>
          <p:nvPr/>
        </p:nvPicPr>
        <p:blipFill rotWithShape="1">
          <a:blip r:embed="rId3"/>
          <a:srcRect r="31214" b="17928"/>
          <a:stretch/>
        </p:blipFill>
        <p:spPr>
          <a:xfrm>
            <a:off x="4102942" y="1760094"/>
            <a:ext cx="6119844" cy="5581332"/>
          </a:xfrm>
          <a:prstGeom prst="rect">
            <a:avLst/>
          </a:prstGeom>
        </p:spPr>
      </p:pic>
    </p:spTree>
    <p:extLst>
      <p:ext uri="{BB962C8B-B14F-4D97-AF65-F5344CB8AC3E}">
        <p14:creationId xmlns:p14="http://schemas.microsoft.com/office/powerpoint/2010/main" val="3711388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65FC4-25C8-5655-D7CF-1C6A9D603F3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A6D7075-D7E1-9AE7-9A6D-F40B574CF2D1}"/>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2648D202-E2DD-5E01-DF81-2F35833F91CF}"/>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End to End Process</a:t>
            </a:r>
          </a:p>
        </p:txBody>
      </p:sp>
      <p:pic>
        <p:nvPicPr>
          <p:cNvPr id="6" name="Picture 5">
            <a:extLst>
              <a:ext uri="{FF2B5EF4-FFF2-40B4-BE49-F238E27FC236}">
                <a16:creationId xmlns:a16="http://schemas.microsoft.com/office/drawing/2014/main" id="{E336F752-A38D-1A9A-971A-7DDB68287A71}"/>
              </a:ext>
            </a:extLst>
          </p:cNvPr>
          <p:cNvPicPr>
            <a:picLocks noChangeAspect="1"/>
          </p:cNvPicPr>
          <p:nvPr/>
        </p:nvPicPr>
        <p:blipFill>
          <a:blip r:embed="rId3"/>
          <a:stretch>
            <a:fillRect/>
          </a:stretch>
        </p:blipFill>
        <p:spPr>
          <a:xfrm>
            <a:off x="2373333" y="1349839"/>
            <a:ext cx="9205644" cy="6852482"/>
          </a:xfrm>
          <a:prstGeom prst="rect">
            <a:avLst/>
          </a:prstGeom>
        </p:spPr>
      </p:pic>
    </p:spTree>
    <p:extLst>
      <p:ext uri="{BB962C8B-B14F-4D97-AF65-F5344CB8AC3E}">
        <p14:creationId xmlns:p14="http://schemas.microsoft.com/office/powerpoint/2010/main" val="22601412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3">
            <a:extLst>
              <a:ext uri="{FF2B5EF4-FFF2-40B4-BE49-F238E27FC236}">
                <a16:creationId xmlns:a16="http://schemas.microsoft.com/office/drawing/2014/main" id="{20B9A5CE-5C5C-2F49-80EF-D989DF997C54}"/>
              </a:ext>
            </a:extLst>
          </p:cNvPr>
          <p:cNvSpPr>
            <a:spLocks noGrp="1"/>
          </p:cNvSpPr>
          <p:nvPr>
            <p:ph type="sldNum" sz="quarter" idx="4"/>
          </p:nvPr>
        </p:nvSpPr>
        <p:spPr/>
        <p:txBody>
          <a:bodyPr/>
          <a:lstStyle/>
          <a:p>
            <a:fld id="{AD816501-AAE5-214E-B100-00C3DC5F5E3F}" type="slidenum">
              <a:rPr lang="en-US" dirty="0" smtClean="0"/>
              <a:pPr/>
              <a:t>2</a:t>
            </a:fld>
            <a:endParaRPr lang="en-US" dirty="0"/>
          </a:p>
        </p:txBody>
      </p:sp>
      <p:sp>
        <p:nvSpPr>
          <p:cNvPr id="8" name="Title 7">
            <a:extLst>
              <a:ext uri="{FF2B5EF4-FFF2-40B4-BE49-F238E27FC236}">
                <a16:creationId xmlns:a16="http://schemas.microsoft.com/office/drawing/2014/main" id="{B6005F29-5694-2449-8EE2-B44DD881E6CB}"/>
              </a:ext>
            </a:extLst>
          </p:cNvPr>
          <p:cNvSpPr>
            <a:spLocks noGrp="1"/>
          </p:cNvSpPr>
          <p:nvPr>
            <p:ph type="title"/>
          </p:nvPr>
        </p:nvSpPr>
        <p:spPr>
          <a:xfrm>
            <a:off x="718023" y="145923"/>
            <a:ext cx="12174912" cy="692497"/>
          </a:xfrm>
        </p:spPr>
        <p:txBody>
          <a:bodyPr/>
          <a:lstStyle/>
          <a:p>
            <a:r>
              <a:rPr lang="en-US" dirty="0"/>
              <a:t>Executive Summary</a:t>
            </a:r>
          </a:p>
        </p:txBody>
      </p:sp>
      <p:graphicFrame>
        <p:nvGraphicFramePr>
          <p:cNvPr id="26" name="Table 25">
            <a:extLst>
              <a:ext uri="{FF2B5EF4-FFF2-40B4-BE49-F238E27FC236}">
                <a16:creationId xmlns:a16="http://schemas.microsoft.com/office/drawing/2014/main" id="{92441FFA-2AD5-6E44-8FCA-34CCB5215D91}"/>
              </a:ext>
            </a:extLst>
          </p:cNvPr>
          <p:cNvGraphicFramePr>
            <a:graphicFrameLocks noGrp="1"/>
          </p:cNvGraphicFramePr>
          <p:nvPr>
            <p:extLst>
              <p:ext uri="{D42A27DB-BD31-4B8C-83A1-F6EECF244321}">
                <p14:modId xmlns:p14="http://schemas.microsoft.com/office/powerpoint/2010/main" val="1845836456"/>
              </p:ext>
            </p:extLst>
          </p:nvPr>
        </p:nvGraphicFramePr>
        <p:xfrm>
          <a:off x="718770" y="2106759"/>
          <a:ext cx="13179172" cy="4892040"/>
        </p:xfrm>
        <a:graphic>
          <a:graphicData uri="http://schemas.openxmlformats.org/drawingml/2006/table">
            <a:tbl>
              <a:tblPr firstRow="1" bandRow="1">
                <a:tableStyleId>{5C22544A-7EE6-4342-B048-85BDC9FD1C3A}</a:tableStyleId>
              </a:tblPr>
              <a:tblGrid>
                <a:gridCol w="3294793">
                  <a:extLst>
                    <a:ext uri="{9D8B030D-6E8A-4147-A177-3AD203B41FA5}">
                      <a16:colId xmlns:a16="http://schemas.microsoft.com/office/drawing/2014/main" val="1737315449"/>
                    </a:ext>
                  </a:extLst>
                </a:gridCol>
                <a:gridCol w="3294793">
                  <a:extLst>
                    <a:ext uri="{9D8B030D-6E8A-4147-A177-3AD203B41FA5}">
                      <a16:colId xmlns:a16="http://schemas.microsoft.com/office/drawing/2014/main" val="460769761"/>
                    </a:ext>
                  </a:extLst>
                </a:gridCol>
                <a:gridCol w="3294793">
                  <a:extLst>
                    <a:ext uri="{9D8B030D-6E8A-4147-A177-3AD203B41FA5}">
                      <a16:colId xmlns:a16="http://schemas.microsoft.com/office/drawing/2014/main" val="3315838333"/>
                    </a:ext>
                  </a:extLst>
                </a:gridCol>
                <a:gridCol w="3294793">
                  <a:extLst>
                    <a:ext uri="{9D8B030D-6E8A-4147-A177-3AD203B41FA5}">
                      <a16:colId xmlns:a16="http://schemas.microsoft.com/office/drawing/2014/main" val="3829531794"/>
                    </a:ext>
                  </a:extLst>
                </a:gridCol>
              </a:tblGrid>
              <a:tr h="250229">
                <a:tc>
                  <a:txBody>
                    <a:bodyPr/>
                    <a:lstStyle/>
                    <a:p>
                      <a:r>
                        <a:rPr lang="en-US" sz="1200" b="1" dirty="0">
                          <a:solidFill>
                            <a:schemeClr val="bg1"/>
                          </a:solidFill>
                        </a:rPr>
                        <a:t>Opportun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Methods &amp;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ind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345643"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Recommend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04747574"/>
                  </a:ext>
                </a:extLst>
              </a:tr>
              <a:tr h="3993472">
                <a:tc>
                  <a:txBody>
                    <a:bodyPr/>
                    <a:lstStyle/>
                    <a:p>
                      <a:pPr marL="0" algn="l" defTabSz="1097280" rtl="0" eaLnBrk="1" latinLnBrk="0" hangingPunct="1"/>
                      <a:r>
                        <a:rPr lang="en-US" sz="1100" kern="1200" dirty="0">
                          <a:solidFill>
                            <a:schemeClr val="tx1"/>
                          </a:solidFill>
                          <a:latin typeface="+mn-lt"/>
                          <a:ea typeface="+mn-ea"/>
                          <a:cs typeface="+mn-cs"/>
                        </a:rPr>
                        <a:t>Migrate to existing CSS (Cardiovascular &amp; Specialty Solutions) tech solution with required capabilities to support business growth as a bridge to S4 long-term solution (2033) and counter risk as support ends in 2026 for existing ERP.</a:t>
                      </a:r>
                    </a:p>
                    <a:p>
                      <a:pPr marL="0" algn="l" defTabSz="1097280" rtl="0" eaLnBrk="1" latinLnBrk="0" hangingPunct="1"/>
                      <a:r>
                        <a:rPr lang="en-US" sz="1100" kern="1200" dirty="0">
                          <a:solidFill>
                            <a:schemeClr val="tx1"/>
                          </a:solidFill>
                          <a:latin typeface="+mn-lt"/>
                          <a:ea typeface="+mn-ea"/>
                          <a:cs typeface="+mn-cs"/>
                        </a:rPr>
                        <a:t>Enable a competitive advantage in the Ambulatory Surgery Centers (ASC) environment into CSC-Model-N (new contracting model software).</a:t>
                      </a:r>
                    </a:p>
                    <a:p>
                      <a:pPr marL="0" algn="l" defTabSz="1097280" rtl="0" eaLnBrk="1" latinLnBrk="0" hangingPunct="1"/>
                      <a:r>
                        <a:rPr lang="en-US" sz="1100" kern="1200" dirty="0">
                          <a:solidFill>
                            <a:schemeClr val="tx1"/>
                          </a:solidFill>
                          <a:latin typeface="+mn-lt"/>
                          <a:ea typeface="+mn-ea"/>
                          <a:cs typeface="+mn-cs"/>
                        </a:rPr>
                        <a:t>Reduce tech complexity by eliminating OFC Quoting System, Sterilmed Datawarehouse, SQL reporting services, Jabil staging database, SIS (Sterilmed Information System) and adopting Planning and Contracting Microsoft databa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alpha val="80000"/>
                      </a:srgbClr>
                    </a:solidFill>
                  </a:tcPr>
                </a:tc>
                <a:tc>
                  <a:txBody>
                    <a:bodyPr/>
                    <a:lstStyle/>
                    <a:p>
                      <a:pPr marL="0" algn="l" defTabSz="1097280" rtl="0" eaLnBrk="1" latinLnBrk="0" hangingPunct="1"/>
                      <a:r>
                        <a:rPr lang="en-US" sz="1100" kern="1200" dirty="0">
                          <a:solidFill>
                            <a:schemeClr val="tx1"/>
                          </a:solidFill>
                          <a:latin typeface="+mn-lt"/>
                          <a:ea typeface="+mn-ea"/>
                          <a:cs typeface="+mn-cs"/>
                        </a:rPr>
                        <a:t>Order To Cash &amp; Procure 2 Pay</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17 E2E current state business process flow maps at high to mid-level detail required for Phase 0</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Visibility into key process activities and actor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Identification of efficiency opportunitie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Map systems landscape supporting busines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Workshop for fit gap analysis - OTC (USROTC) &amp; P2P (Ariba/SAP Lynx)* ERP (BWI JDE)</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Design process changes to accommodate USROTC</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Design and quantify future state improvements in collaboration with Business and IT partner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Ensure teams have information needed to submit aCAR for review</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21 Preliminary Future State Design Concept Maps at Mid to High Level supporting aCAR submission to the Steering Committee. Revisit after design and test phases to create proper level 3 end to end process ma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109728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dentified 2 process gaps out of the 50 Workshop Sterilmed capability  concerns and sub process pain point / Sterilmed Capability Requirement.  So a fit gap percentage of 96%. </a:t>
                      </a:r>
                    </a:p>
                    <a:p>
                      <a:pPr marL="171450" marR="0" lvl="0" indent="-171450" algn="l" defTabSz="109728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Quoting and  Jabil staging data are gap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The Great Plains system is embedded and integrated into every function and process for the Sterilmed business. Microsoft has announced end of support to Great Plains by 2026.</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Pricing and Contracting spends about 75% of their time, 800 hours annually, manually tracking keystrokes in the Great Plains system to support required business controls.</a:t>
                      </a:r>
                    </a:p>
                    <a:p>
                      <a:pPr marL="171450" marR="0" lvl="0" indent="-171450" algn="l" defTabSz="109728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Planning: BWI JDE automatically calculates inventory. The hours eliminated would be ~100 hours/year, when you factor in the time doing</a:t>
                      </a:r>
                    </a:p>
                    <a:p>
                      <a:pPr marL="171450" marR="0" lvl="0" indent="-171450" algn="l" defTabSz="109728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Accounts Receivables: Save 75 FTE Hours by using USROTC existing connection BtB eliminating manual entry that was done in Great Plains.</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All accounts receivables and procurement done on Great Plains system.</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Leverage USROTC system and Credit Request team that does this for BWI currently.</a:t>
                      </a:r>
                    </a:p>
                    <a:p>
                      <a:pPr marL="171450" marR="0" lvl="0" indent="-171450" algn="l" defTabSz="109728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 of Rework loops = 19      # of hand offs = 89</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 of Independent starts = 27</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 of non-value-added steps = 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alpha val="80000"/>
                      </a:srgbClr>
                    </a:solidFill>
                  </a:tcPr>
                </a:tc>
                <a:tc>
                  <a:txBody>
                    <a:bodyPr/>
                    <a:lstStyle/>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Enable a competitive advantage in the Ambulatory Surgery Centers (ASC) leveraging CSC (Model N)</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Migrate Sterilmed ERP onto CSS BWI JDE and leverage existing / common processes for USROTC, MDM and Corporate systems  as an intermediate solution ahead of full TranSCend. </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Move procurement to eMarketplace, Ariba, Lynx, OneASL, USROTC, and  BtB NA.</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For accounts receivable use USROTC, HighRadius, Aravo, and BtB NA.</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3 customized solutions to be created in BWI JDE: 1) Jabil staging tables (32) 2) Quoting process  3) BWI JDE can send excess inventory to the Data Warehouse, and we can create a report showing excess inventory in USROTC.</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GPO ID #:  Sterilmed currently maintains a very manual process to update the data field “GPO ID” in our SIS System (our Customer Master) linked to the appropriate SMID/UCN. Therefore, utilize GPO rosters that are currently being loaded into MDM and then flow to ICS (Model N) for all customer accounts that Sterilmed does business with.</a:t>
                      </a:r>
                    </a:p>
                    <a:p>
                      <a:pPr marL="171450" indent="-171450" algn="l" defTabSz="1097280" rtl="0" eaLnBrk="1" latinLnBrk="0" hangingPunct="1">
                        <a:buFont typeface="Arial" panose="020B0604020202020204" pitchFamily="34" charset="0"/>
                        <a:buChar char="•"/>
                      </a:pPr>
                      <a:r>
                        <a:rPr lang="en-US" sz="1100" kern="1200" dirty="0">
                          <a:solidFill>
                            <a:schemeClr val="tx1"/>
                          </a:solidFill>
                          <a:latin typeface="+mn-lt"/>
                          <a:ea typeface="+mn-ea"/>
                          <a:cs typeface="+mn-cs"/>
                        </a:rPr>
                        <a:t>For Canada customers: Reduce Complexity by giving the 2 customers a date in which they need to be transitioned to “Open loop” by, then we’ll be shutting down closed loop.</a:t>
                      </a:r>
                      <a:r>
                        <a:rPr lang="en-US" sz="1100" kern="0" dirty="0">
                          <a:solidFill>
                            <a:schemeClr val="bg1"/>
                          </a:solidFill>
                          <a:latin typeface="Arial" panose="020B0604020202020204" pitchFamily="34" charset="0"/>
                          <a:cs typeface="Arial" panose="020B0604020202020204" pitchFamily="34" charset="0"/>
                        </a:rPr>
                        <a:t> loop” by, then we’ll be shutting down closed loop.</a:t>
                      </a:r>
                      <a:endParaRPr lang="en-US" sz="11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3981511692"/>
                  </a:ext>
                </a:extLst>
              </a:tr>
            </a:tbl>
          </a:graphicData>
        </a:graphic>
      </p:graphicFrame>
      <p:graphicFrame>
        <p:nvGraphicFramePr>
          <p:cNvPr id="3" name="Table 2">
            <a:extLst>
              <a:ext uri="{FF2B5EF4-FFF2-40B4-BE49-F238E27FC236}">
                <a16:creationId xmlns:a16="http://schemas.microsoft.com/office/drawing/2014/main" id="{04641269-20A3-4614-8C71-44800FA7EF4F}"/>
              </a:ext>
            </a:extLst>
          </p:cNvPr>
          <p:cNvGraphicFramePr>
            <a:graphicFrameLocks noGrp="1"/>
          </p:cNvGraphicFramePr>
          <p:nvPr>
            <p:extLst>
              <p:ext uri="{D42A27DB-BD31-4B8C-83A1-F6EECF244321}">
                <p14:modId xmlns:p14="http://schemas.microsoft.com/office/powerpoint/2010/main" val="910034366"/>
              </p:ext>
            </p:extLst>
          </p:nvPr>
        </p:nvGraphicFramePr>
        <p:xfrm>
          <a:off x="718023" y="5437302"/>
          <a:ext cx="6589350" cy="1369071"/>
        </p:xfrm>
        <a:graphic>
          <a:graphicData uri="http://schemas.openxmlformats.org/drawingml/2006/table">
            <a:tbl>
              <a:tblPr firstRow="1" bandRow="1">
                <a:tableStyleId>{5C22544A-7EE6-4342-B048-85BDC9FD1C3A}</a:tableStyleId>
              </a:tblPr>
              <a:tblGrid>
                <a:gridCol w="1979480">
                  <a:extLst>
                    <a:ext uri="{9D8B030D-6E8A-4147-A177-3AD203B41FA5}">
                      <a16:colId xmlns:a16="http://schemas.microsoft.com/office/drawing/2014/main" val="1365095352"/>
                    </a:ext>
                  </a:extLst>
                </a:gridCol>
                <a:gridCol w="4609870">
                  <a:extLst>
                    <a:ext uri="{9D8B030D-6E8A-4147-A177-3AD203B41FA5}">
                      <a16:colId xmlns:a16="http://schemas.microsoft.com/office/drawing/2014/main" val="447374017"/>
                    </a:ext>
                  </a:extLst>
                </a:gridCol>
              </a:tblGrid>
              <a:tr h="330363">
                <a:tc gridSpan="2">
                  <a:txBody>
                    <a:bodyPr/>
                    <a:lstStyle/>
                    <a:p>
                      <a:pPr fontAlgn="base"/>
                      <a:r>
                        <a:rPr lang="en-US" sz="1200" b="1" dirty="0">
                          <a:solidFill>
                            <a:srgbClr val="FFFFFF"/>
                          </a:solidFill>
                          <a:effectLst/>
                        </a:rPr>
                        <a:t>Quantitative Business Value</a:t>
                      </a:r>
                      <a:endParaRPr lang="en-US" b="1" dirty="0">
                        <a:solidFill>
                          <a:srgbClr val="FFFFFF"/>
                        </a:solidFill>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526272617"/>
                  </a:ext>
                </a:extLst>
              </a:tr>
              <a:tr h="259677">
                <a:tc>
                  <a:txBody>
                    <a:bodyPr/>
                    <a:lstStyle/>
                    <a:p>
                      <a:pPr fontAlgn="base"/>
                      <a:r>
                        <a:rPr lang="en-US" sz="1050" dirty="0">
                          <a:effectLst/>
                        </a:rPr>
                        <a:t>Metric​</a:t>
                      </a:r>
                      <a:endParaRPr lang="en-US" dirty="0">
                        <a:solidFill>
                          <a:srgbClr val="212121"/>
                        </a:solidFill>
                        <a:effectLst/>
                      </a:endParaRPr>
                    </a:p>
                  </a:txBody>
                  <a:tcPr>
                    <a:lnL w="12700" cap="flat" cmpd="sng" algn="ctr">
                      <a:solidFill>
                        <a:schemeClr val="tx1"/>
                      </a:solidFill>
                      <a:prstDash val="solid"/>
                      <a:round/>
                      <a:headEnd type="none" w="med" len="med"/>
                      <a:tailEnd type="none" w="med" len="med"/>
                    </a:lnL>
                    <a:solidFill>
                      <a:srgbClr val="E7E7E7"/>
                    </a:solidFill>
                  </a:tcPr>
                </a:tc>
                <a:tc>
                  <a:txBody>
                    <a:bodyPr/>
                    <a:lstStyle/>
                    <a:p>
                      <a:pPr algn="ctr" fontAlgn="base"/>
                      <a:r>
                        <a:rPr lang="en-US" sz="1050" b="1" dirty="0">
                          <a:solidFill>
                            <a:schemeClr val="tx1"/>
                          </a:solidFill>
                          <a:effectLst/>
                        </a:rPr>
                        <a:t>White $​</a:t>
                      </a:r>
                      <a:endParaRPr lang="en-US" b="1" dirty="0">
                        <a:solidFill>
                          <a:schemeClr val="tx1"/>
                        </a:solidFill>
                        <a:effectLst/>
                      </a:endParaRPr>
                    </a:p>
                  </a:txBody>
                  <a:tcPr>
                    <a:lnR w="12700" cap="flat" cmpd="sng" algn="ctr">
                      <a:solidFill>
                        <a:schemeClr val="tx1"/>
                      </a:solidFill>
                      <a:prstDash val="solid"/>
                      <a:round/>
                      <a:headEnd type="none" w="med" len="med"/>
                      <a:tailEnd type="none" w="med" len="med"/>
                    </a:lnR>
                    <a:solidFill>
                      <a:srgbClr val="E7E7E7"/>
                    </a:solidFill>
                  </a:tcPr>
                </a:tc>
                <a:extLst>
                  <a:ext uri="{0D108BD9-81ED-4DB2-BD59-A6C34878D82A}">
                    <a16:rowId xmlns:a16="http://schemas.microsoft.com/office/drawing/2014/main" val="403837761"/>
                  </a:ext>
                </a:extLst>
              </a:tr>
              <a:tr h="259677">
                <a:tc>
                  <a:txBody>
                    <a:bodyPr/>
                    <a:lstStyle/>
                    <a:p>
                      <a:pPr fontAlgn="base"/>
                      <a:r>
                        <a:rPr lang="en-US" sz="1050" dirty="0">
                          <a:effectLst/>
                        </a:rPr>
                        <a:t>IT Savings  $</a:t>
                      </a:r>
                    </a:p>
                  </a:txBody>
                  <a:tcPr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auto"/>
                      <a:r>
                        <a:rPr lang="en-US" sz="1050" dirty="0">
                          <a:effectLst/>
                        </a:rPr>
                        <a:t>​752,000</a:t>
                      </a:r>
                    </a:p>
                  </a:txBody>
                  <a:tcPr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54041172"/>
                  </a:ext>
                </a:extLst>
              </a:tr>
              <a:tr h="259677">
                <a:tc>
                  <a:txBody>
                    <a:bodyPr/>
                    <a:lstStyle/>
                    <a:p>
                      <a:pPr marL="0" marR="0" lvl="0" indent="0" algn="l" defTabSz="109728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Business ​Hours Reduction</a:t>
                      </a:r>
                      <a:endParaRPr kumimoji="0" lang="en-US" sz="2160" b="0" i="0" u="none" strike="noStrike" kern="1200" cap="none" spc="0" normalizeH="0" baseline="0" noProof="0" dirty="0">
                        <a:ln>
                          <a:noFill/>
                        </a:ln>
                        <a:solidFill>
                          <a:srgbClr val="21212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solidFill>
                      <a:srgbClr val="E7E7E7"/>
                    </a:solidFill>
                  </a:tcPr>
                </a:tc>
                <a:tc>
                  <a:txBody>
                    <a:bodyPr/>
                    <a:lstStyle/>
                    <a:p>
                      <a:pPr algn="ctr" fontAlgn="auto"/>
                      <a:r>
                        <a:rPr lang="en-US" sz="1050" dirty="0">
                          <a:effectLst/>
                        </a:rPr>
                        <a:t>​975 hours</a:t>
                      </a:r>
                      <a:endParaRPr lang="en-US" sz="1050" dirty="0">
                        <a:solidFill>
                          <a:srgbClr val="63666A"/>
                        </a:solidFill>
                        <a:effectLst/>
                        <a:latin typeface="Arial" panose="020B0604020202020204" pitchFamily="34" charset="0"/>
                      </a:endParaRPr>
                    </a:p>
                  </a:txBody>
                  <a:tcPr anchor="ctr">
                    <a:lnR w="12700" cap="flat" cmpd="sng" algn="ctr">
                      <a:solidFill>
                        <a:schemeClr val="tx1"/>
                      </a:solidFill>
                      <a:prstDash val="solid"/>
                      <a:round/>
                      <a:headEnd type="none" w="med" len="med"/>
                      <a:tailEnd type="none" w="med" len="med"/>
                    </a:lnR>
                    <a:solidFill>
                      <a:srgbClr val="E7E7E7"/>
                    </a:solidFill>
                  </a:tcPr>
                </a:tc>
                <a:extLst>
                  <a:ext uri="{0D108BD9-81ED-4DB2-BD59-A6C34878D82A}">
                    <a16:rowId xmlns:a16="http://schemas.microsoft.com/office/drawing/2014/main" val="1778126107"/>
                  </a:ext>
                </a:extLst>
              </a:tr>
              <a:tr h="259677">
                <a:tc>
                  <a:txBody>
                    <a:bodyPr/>
                    <a:lstStyle/>
                    <a:p>
                      <a:pPr marL="0" marR="0" lvl="0" indent="0" algn="l" defTabSz="109728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mn-lt"/>
                          <a:ea typeface="+mn-ea"/>
                          <a:cs typeface="+mn-cs"/>
                        </a:rPr>
                        <a:t>Total​</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E7E7E7"/>
                    </a:solidFill>
                  </a:tcPr>
                </a:tc>
                <a:tc>
                  <a:txBody>
                    <a:bodyPr/>
                    <a:lstStyle/>
                    <a:p>
                      <a:pPr marL="0" marR="0" lvl="0" indent="0" algn="l" defTabSz="109728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dirty="0">
                        <a:ln>
                          <a:noFill/>
                        </a:ln>
                        <a:solidFill>
                          <a:srgbClr val="000000"/>
                        </a:solidFill>
                        <a:effectLst/>
                        <a:uLnTx/>
                        <a:uFillTx/>
                        <a:latin typeface="+mn-lt"/>
                        <a:ea typeface="+mn-ea"/>
                        <a:cs typeface="+mn-cs"/>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2803738683"/>
                  </a:ext>
                </a:extLst>
              </a:tr>
            </a:tbl>
          </a:graphicData>
        </a:graphic>
      </p:graphicFrame>
      <p:graphicFrame>
        <p:nvGraphicFramePr>
          <p:cNvPr id="14" name="Table 13">
            <a:extLst>
              <a:ext uri="{FF2B5EF4-FFF2-40B4-BE49-F238E27FC236}">
                <a16:creationId xmlns:a16="http://schemas.microsoft.com/office/drawing/2014/main" id="{3E31D33F-B074-D16C-D727-DA5D268325BA}"/>
              </a:ext>
            </a:extLst>
          </p:cNvPr>
          <p:cNvGraphicFramePr>
            <a:graphicFrameLocks noGrp="1"/>
          </p:cNvGraphicFramePr>
          <p:nvPr>
            <p:extLst>
              <p:ext uri="{D42A27DB-BD31-4B8C-83A1-F6EECF244321}">
                <p14:modId xmlns:p14="http://schemas.microsoft.com/office/powerpoint/2010/main" val="3944591746"/>
              </p:ext>
            </p:extLst>
          </p:nvPr>
        </p:nvGraphicFramePr>
        <p:xfrm>
          <a:off x="718023" y="6809265"/>
          <a:ext cx="13194980" cy="822960"/>
        </p:xfrm>
        <a:graphic>
          <a:graphicData uri="http://schemas.openxmlformats.org/drawingml/2006/table">
            <a:tbl>
              <a:tblPr firstRow="1" bandRow="1">
                <a:tableStyleId>{5C22544A-7EE6-4342-B048-85BDC9FD1C3A}</a:tableStyleId>
              </a:tblPr>
              <a:tblGrid>
                <a:gridCol w="2830522">
                  <a:extLst>
                    <a:ext uri="{9D8B030D-6E8A-4147-A177-3AD203B41FA5}">
                      <a16:colId xmlns:a16="http://schemas.microsoft.com/office/drawing/2014/main" val="589325799"/>
                    </a:ext>
                  </a:extLst>
                </a:gridCol>
                <a:gridCol w="939484">
                  <a:extLst>
                    <a:ext uri="{9D8B030D-6E8A-4147-A177-3AD203B41FA5}">
                      <a16:colId xmlns:a16="http://schemas.microsoft.com/office/drawing/2014/main" val="3121562130"/>
                    </a:ext>
                  </a:extLst>
                </a:gridCol>
                <a:gridCol w="1884990">
                  <a:extLst>
                    <a:ext uri="{9D8B030D-6E8A-4147-A177-3AD203B41FA5}">
                      <a16:colId xmlns:a16="http://schemas.microsoft.com/office/drawing/2014/main" val="269645670"/>
                    </a:ext>
                  </a:extLst>
                </a:gridCol>
                <a:gridCol w="1884990">
                  <a:extLst>
                    <a:ext uri="{9D8B030D-6E8A-4147-A177-3AD203B41FA5}">
                      <a16:colId xmlns:a16="http://schemas.microsoft.com/office/drawing/2014/main" val="3533827435"/>
                    </a:ext>
                  </a:extLst>
                </a:gridCol>
                <a:gridCol w="1884990">
                  <a:extLst>
                    <a:ext uri="{9D8B030D-6E8A-4147-A177-3AD203B41FA5}">
                      <a16:colId xmlns:a16="http://schemas.microsoft.com/office/drawing/2014/main" val="4046082078"/>
                    </a:ext>
                  </a:extLst>
                </a:gridCol>
                <a:gridCol w="1801373">
                  <a:extLst>
                    <a:ext uri="{9D8B030D-6E8A-4147-A177-3AD203B41FA5}">
                      <a16:colId xmlns:a16="http://schemas.microsoft.com/office/drawing/2014/main" val="2796866407"/>
                    </a:ext>
                  </a:extLst>
                </a:gridCol>
                <a:gridCol w="1968631">
                  <a:extLst>
                    <a:ext uri="{9D8B030D-6E8A-4147-A177-3AD203B41FA5}">
                      <a16:colId xmlns:a16="http://schemas.microsoft.com/office/drawing/2014/main" val="3918941440"/>
                    </a:ext>
                  </a:extLst>
                </a:gridCol>
              </a:tblGrid>
              <a:tr h="212001">
                <a:tc>
                  <a:txBody>
                    <a:bodyPr/>
                    <a:lstStyle/>
                    <a:p>
                      <a:pPr rtl="0" fontAlgn="base"/>
                      <a:r>
                        <a:rPr lang="en-US" sz="1200" b="1" dirty="0">
                          <a:effectLst/>
                        </a:rPr>
                        <a:t>Expected Realization Timeline​</a:t>
                      </a:r>
                      <a:endParaRPr lang="en-US" sz="1200" b="1" dirty="0">
                        <a:solidFill>
                          <a:srgbClr val="FFFFFF"/>
                        </a:solidFill>
                        <a:effectLs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2023​</a:t>
                      </a:r>
                      <a:endParaRPr lang="en-US" sz="1200" b="1" dirty="0">
                        <a:solidFill>
                          <a:srgbClr val="FFFFFF"/>
                        </a:solidFill>
                        <a:effectLst/>
                      </a:endParaRPr>
                    </a:p>
                  </a:txBody>
                  <a:tcPr anchor="ctr">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2024​</a:t>
                      </a:r>
                      <a:endParaRPr lang="en-US" sz="1200" b="1" dirty="0">
                        <a:solidFill>
                          <a:srgbClr val="FFFFFF"/>
                        </a:solidFill>
                        <a:effectLst/>
                      </a:endParaRPr>
                    </a:p>
                  </a:txBody>
                  <a:tcPr anchor="ctr">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2025​</a:t>
                      </a:r>
                      <a:endParaRPr lang="en-US" sz="1200" b="1" dirty="0">
                        <a:solidFill>
                          <a:srgbClr val="FFFFFF"/>
                        </a:solidFill>
                        <a:effectLst/>
                      </a:endParaRPr>
                    </a:p>
                  </a:txBody>
                  <a:tcPr anchor="ctr">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2026​</a:t>
                      </a:r>
                      <a:endParaRPr lang="en-US" sz="1200" b="1" dirty="0">
                        <a:solidFill>
                          <a:srgbClr val="FFFFFF"/>
                        </a:solidFill>
                        <a:effectLst/>
                      </a:endParaRPr>
                    </a:p>
                  </a:txBody>
                  <a:tcPr anchor="ctr">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2027​</a:t>
                      </a:r>
                      <a:endParaRPr lang="en-US" sz="1200" b="1" dirty="0">
                        <a:solidFill>
                          <a:srgbClr val="FFFFFF"/>
                        </a:solidFill>
                        <a:effectLst/>
                      </a:endParaRPr>
                    </a:p>
                  </a:txBody>
                  <a:tcPr anchor="ctr">
                    <a:lnT w="12700" cap="flat" cmpd="sng" algn="ctr">
                      <a:solidFill>
                        <a:schemeClr val="tx1"/>
                      </a:solidFill>
                      <a:prstDash val="solid"/>
                      <a:round/>
                      <a:headEnd type="none" w="med" len="med"/>
                      <a:tailEnd type="none" w="med" len="med"/>
                    </a:lnT>
                  </a:tcPr>
                </a:tc>
                <a:tc>
                  <a:txBody>
                    <a:bodyPr/>
                    <a:lstStyle/>
                    <a:p>
                      <a:pPr algn="ctr" rtl="0" fontAlgn="base"/>
                      <a:r>
                        <a:rPr lang="en-US" sz="1200" b="1" dirty="0">
                          <a:effectLst/>
                        </a:rPr>
                        <a:t>Total​</a:t>
                      </a:r>
                      <a:endParaRPr lang="en-US" sz="1200" b="1" dirty="0">
                        <a:solidFill>
                          <a:srgbClr val="FFFFFF"/>
                        </a:solidFill>
                        <a:effectLs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19144962"/>
                  </a:ext>
                </a:extLst>
              </a:tr>
              <a:tr h="212001">
                <a:tc>
                  <a:txBody>
                    <a:bodyPr/>
                    <a:lstStyle/>
                    <a:p>
                      <a:pPr algn="ctr" rtl="0" fontAlgn="base"/>
                      <a:r>
                        <a:rPr lang="en-US" sz="1200" dirty="0">
                          <a:effectLst/>
                        </a:rPr>
                        <a:t>White $​</a:t>
                      </a:r>
                    </a:p>
                  </a:txBody>
                  <a:tcP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ase"/>
                      <a:r>
                        <a:rPr lang="en-US" sz="1200" dirty="0">
                          <a:effectLst/>
                        </a:rPr>
                        <a:t>$​</a:t>
                      </a:r>
                    </a:p>
                  </a:txBody>
                  <a:tcPr>
                    <a:solidFill>
                      <a:srgbClr val="E7E7E7"/>
                    </a:solidFill>
                  </a:tcPr>
                </a:tc>
                <a:tc>
                  <a:txBody>
                    <a:bodyPr/>
                    <a:lstStyle/>
                    <a:p>
                      <a:pPr algn="ctr" rtl="0" fontAlgn="base"/>
                      <a:r>
                        <a:rPr lang="en-US" sz="1200" dirty="0">
                          <a:effectLst/>
                        </a:rPr>
                        <a:t>$​</a:t>
                      </a:r>
                    </a:p>
                  </a:txBody>
                  <a:tcPr>
                    <a:solidFill>
                      <a:srgbClr val="E7E7E7"/>
                    </a:solidFill>
                  </a:tcPr>
                </a:tc>
                <a:tc>
                  <a:txBody>
                    <a:bodyPr/>
                    <a:lstStyle/>
                    <a:p>
                      <a:pPr algn="ctr" rtl="0" fontAlgn="base"/>
                      <a:r>
                        <a:rPr lang="en-US" sz="1200" dirty="0">
                          <a:effectLst/>
                        </a:rPr>
                        <a:t>$​</a:t>
                      </a:r>
                    </a:p>
                  </a:txBody>
                  <a:tcPr>
                    <a:solidFill>
                      <a:srgbClr val="E7E7E7"/>
                    </a:solidFill>
                  </a:tcPr>
                </a:tc>
                <a:tc>
                  <a:txBody>
                    <a:bodyPr/>
                    <a:lstStyle/>
                    <a:p>
                      <a:pPr algn="ctr" rtl="0" fontAlgn="base"/>
                      <a:r>
                        <a:rPr lang="en-US" sz="1200" dirty="0">
                          <a:effectLst/>
                        </a:rPr>
                        <a:t>$​</a:t>
                      </a:r>
                    </a:p>
                  </a:txBody>
                  <a:tcPr>
                    <a:solidFill>
                      <a:srgbClr val="E7E7E7"/>
                    </a:solidFill>
                  </a:tcPr>
                </a:tc>
                <a:tc>
                  <a:txBody>
                    <a:bodyPr/>
                    <a:lstStyle/>
                    <a:p>
                      <a:pPr algn="ctr" rtl="0" fontAlgn="base"/>
                      <a:r>
                        <a:rPr lang="en-US" sz="1200" dirty="0">
                          <a:effectLst/>
                        </a:rPr>
                        <a:t>$​752,000</a:t>
                      </a:r>
                    </a:p>
                  </a:txBody>
                  <a:tcPr>
                    <a:solidFill>
                      <a:srgbClr val="E7E7E7"/>
                    </a:solidFill>
                  </a:tcPr>
                </a:tc>
                <a:tc>
                  <a:txBody>
                    <a:bodyPr/>
                    <a:lstStyle/>
                    <a:p>
                      <a:pPr algn="ctr" rtl="0" fontAlgn="base"/>
                      <a:r>
                        <a:rPr lang="en-US" sz="1200" dirty="0">
                          <a:effectLst/>
                        </a:rPr>
                        <a:t>$​</a:t>
                      </a:r>
                    </a:p>
                  </a:txBody>
                  <a:tcPr>
                    <a:lnR w="12700" cap="flat" cmpd="sng" algn="ctr">
                      <a:solidFill>
                        <a:schemeClr val="tx1"/>
                      </a:solidFill>
                      <a:prstDash val="solid"/>
                      <a:round/>
                      <a:headEnd type="none" w="med" len="med"/>
                      <a:tailEnd type="none" w="med" len="med"/>
                    </a:lnR>
                    <a:solidFill>
                      <a:srgbClr val="E7E7E7"/>
                    </a:solidFill>
                  </a:tcPr>
                </a:tc>
                <a:extLst>
                  <a:ext uri="{0D108BD9-81ED-4DB2-BD59-A6C34878D82A}">
                    <a16:rowId xmlns:a16="http://schemas.microsoft.com/office/drawing/2014/main" val="3617518698"/>
                  </a:ext>
                </a:extLst>
              </a:tr>
              <a:tr h="212001">
                <a:tc>
                  <a:txBody>
                    <a:bodyPr/>
                    <a:lstStyle/>
                    <a:p>
                      <a:pPr algn="ctr" rtl="0" fontAlgn="base"/>
                      <a:r>
                        <a:rPr lang="en-US" sz="1200" dirty="0">
                          <a:effectLst/>
                        </a:rPr>
                        <a:t>Green $​</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rtl="0" fontAlgn="base"/>
                      <a:r>
                        <a:rPr lang="en-US" sz="1200" dirty="0">
                          <a:effectLst/>
                        </a:rPr>
                        <a:t>$​</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3529720"/>
                  </a:ext>
                </a:extLst>
              </a:tr>
            </a:tbl>
          </a:graphicData>
        </a:graphic>
      </p:graphicFrame>
      <p:graphicFrame>
        <p:nvGraphicFramePr>
          <p:cNvPr id="19" name="Table 18">
            <a:extLst>
              <a:ext uri="{FF2B5EF4-FFF2-40B4-BE49-F238E27FC236}">
                <a16:creationId xmlns:a16="http://schemas.microsoft.com/office/drawing/2014/main" id="{DA28C93A-050C-0C4E-479C-685370ADC5CA}"/>
              </a:ext>
            </a:extLst>
          </p:cNvPr>
          <p:cNvGraphicFramePr>
            <a:graphicFrameLocks noGrp="1"/>
          </p:cNvGraphicFramePr>
          <p:nvPr>
            <p:extLst>
              <p:ext uri="{D42A27DB-BD31-4B8C-83A1-F6EECF244321}">
                <p14:modId xmlns:p14="http://schemas.microsoft.com/office/powerpoint/2010/main" val="3287240067"/>
              </p:ext>
            </p:extLst>
          </p:nvPr>
        </p:nvGraphicFramePr>
        <p:xfrm>
          <a:off x="716412" y="1686905"/>
          <a:ext cx="13179173" cy="418408"/>
        </p:xfrm>
        <a:graphic>
          <a:graphicData uri="http://schemas.openxmlformats.org/drawingml/2006/table">
            <a:tbl>
              <a:tblPr firstRow="1" bandRow="1">
                <a:tableStyleId>{5C22544A-7EE6-4342-B048-85BDC9FD1C3A}</a:tableStyleId>
              </a:tblPr>
              <a:tblGrid>
                <a:gridCol w="1205125">
                  <a:extLst>
                    <a:ext uri="{9D8B030D-6E8A-4147-A177-3AD203B41FA5}">
                      <a16:colId xmlns:a16="http://schemas.microsoft.com/office/drawing/2014/main" val="1664023100"/>
                    </a:ext>
                  </a:extLst>
                </a:gridCol>
                <a:gridCol w="11974048">
                  <a:extLst>
                    <a:ext uri="{9D8B030D-6E8A-4147-A177-3AD203B41FA5}">
                      <a16:colId xmlns:a16="http://schemas.microsoft.com/office/drawing/2014/main" val="4051285209"/>
                    </a:ext>
                  </a:extLst>
                </a:gridCol>
              </a:tblGrid>
              <a:tr h="122642">
                <a:tc>
                  <a:txBody>
                    <a:bodyPr/>
                    <a:lstStyle/>
                    <a:p>
                      <a:pPr algn="ctr" rtl="0" fontAlgn="base"/>
                      <a:r>
                        <a:rPr lang="en-US" sz="1100" dirty="0">
                          <a:effectLst/>
                        </a:rPr>
                        <a:t>Business Value Statement​</a:t>
                      </a:r>
                      <a:endParaRPr lang="en-US" sz="1100" b="1" dirty="0">
                        <a:solidFill>
                          <a:srgbClr val="FFFFFF"/>
                        </a:solidFill>
                        <a:effectLst/>
                      </a:endParaRPr>
                    </a:p>
                  </a:txBody>
                  <a:tcPr marT="41564" marB="415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auto"/>
                      <a:r>
                        <a:rPr lang="en-US" sz="1000" b="0" kern="1200" dirty="0">
                          <a:solidFill>
                            <a:schemeClr val="tx1"/>
                          </a:solidFill>
                          <a:latin typeface="+mn-lt"/>
                          <a:ea typeface="+mn-ea"/>
                          <a:cs typeface="+mn-cs"/>
                        </a:rPr>
                        <a:t>​</a:t>
                      </a:r>
                      <a:r>
                        <a:rPr lang="en-US" sz="1100" b="0" kern="1200" dirty="0">
                          <a:solidFill>
                            <a:schemeClr val="tx1"/>
                          </a:solidFill>
                          <a:latin typeface="+mn-lt"/>
                          <a:ea typeface="+mn-ea"/>
                          <a:cs typeface="+mn-cs"/>
                        </a:rPr>
                        <a:t>Reduce manual processes that are inefficient and impact the effectiveness of service delivery and ultimately not able to support expected growth in business. Migrate to existing CSS solution with required capabilities to support business growth as a bridge to S4 long-term solution (2033)</a:t>
                      </a:r>
                    </a:p>
                  </a:txBody>
                  <a:tcPr marT="41564" marB="415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9437144"/>
                  </a:ext>
                </a:extLst>
              </a:tr>
            </a:tbl>
          </a:graphicData>
        </a:graphic>
      </p:graphicFrame>
      <p:graphicFrame>
        <p:nvGraphicFramePr>
          <p:cNvPr id="2" name="Table 2">
            <a:extLst>
              <a:ext uri="{FF2B5EF4-FFF2-40B4-BE49-F238E27FC236}">
                <a16:creationId xmlns:a16="http://schemas.microsoft.com/office/drawing/2014/main" id="{11AF8988-5274-3E3E-E17B-31538F0B5130}"/>
              </a:ext>
            </a:extLst>
          </p:cNvPr>
          <p:cNvGraphicFramePr>
            <a:graphicFrameLocks noGrp="1"/>
          </p:cNvGraphicFramePr>
          <p:nvPr>
            <p:extLst>
              <p:ext uri="{D42A27DB-BD31-4B8C-83A1-F6EECF244321}">
                <p14:modId xmlns:p14="http://schemas.microsoft.com/office/powerpoint/2010/main" val="3378503247"/>
              </p:ext>
            </p:extLst>
          </p:nvPr>
        </p:nvGraphicFramePr>
        <p:xfrm>
          <a:off x="713742" y="763804"/>
          <a:ext cx="6514372" cy="908840"/>
        </p:xfrm>
        <a:graphic>
          <a:graphicData uri="http://schemas.openxmlformats.org/drawingml/2006/table">
            <a:tbl>
              <a:tblPr firstCol="1" bandRow="1">
                <a:tableStyleId>{85BE263C-DBD7-4A20-BB59-AAB30ACAA65A}</a:tableStyleId>
              </a:tblPr>
              <a:tblGrid>
                <a:gridCol w="1184726">
                  <a:extLst>
                    <a:ext uri="{9D8B030D-6E8A-4147-A177-3AD203B41FA5}">
                      <a16:colId xmlns:a16="http://schemas.microsoft.com/office/drawing/2014/main" val="123260567"/>
                    </a:ext>
                  </a:extLst>
                </a:gridCol>
                <a:gridCol w="5329646">
                  <a:extLst>
                    <a:ext uri="{9D8B030D-6E8A-4147-A177-3AD203B41FA5}">
                      <a16:colId xmlns:a16="http://schemas.microsoft.com/office/drawing/2014/main" val="1819922604"/>
                    </a:ext>
                  </a:extLst>
                </a:gridCol>
              </a:tblGrid>
              <a:tr h="908840">
                <a:tc>
                  <a:txBody>
                    <a:bodyPr/>
                    <a:lstStyle/>
                    <a:p>
                      <a:pPr algn="ctr"/>
                      <a:r>
                        <a:rPr lang="en-US" sz="1200" b="1" u="none" dirty="0">
                          <a:solidFill>
                            <a:schemeClr val="bg1"/>
                          </a:solidFill>
                        </a:rPr>
                        <a:t>Problem Statement</a:t>
                      </a:r>
                      <a:endParaRPr lang="en-US" sz="1200" b="1" u="none"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tx1"/>
                          </a:solidFill>
                          <a:latin typeface="+mn-lt"/>
                        </a:rPr>
                        <a:t>Sterilmed supply chain is not integrated to the J&amp;J MT existing processes and systems. Sterilmed </a:t>
                      </a:r>
                      <a:r>
                        <a:rPr lang="en-US" sz="1100" kern="1200" dirty="0">
                          <a:solidFill>
                            <a:schemeClr val="tx1"/>
                          </a:solidFill>
                          <a:latin typeface="+mn-lt"/>
                          <a:ea typeface="+mn-ea"/>
                          <a:cs typeface="+mn-cs"/>
                        </a:rPr>
                        <a:t>is technically hosted in an aging platform, with capability gaps that require the business to develop manual processes that are inefficient and impact the effectiveness of service delivery and ultimately </a:t>
                      </a:r>
                      <a:r>
                        <a:rPr lang="en-US" sz="1100" dirty="0">
                          <a:solidFill>
                            <a:schemeClr val="tx1"/>
                          </a:solidFill>
                          <a:latin typeface="+mn-lt"/>
                        </a:rPr>
                        <a:t>not able to support expected growth in bus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7380580"/>
                  </a:ext>
                </a:extLst>
              </a:tr>
            </a:tbl>
          </a:graphicData>
        </a:graphic>
      </p:graphicFrame>
      <p:graphicFrame>
        <p:nvGraphicFramePr>
          <p:cNvPr id="4" name="Table 3">
            <a:extLst>
              <a:ext uri="{FF2B5EF4-FFF2-40B4-BE49-F238E27FC236}">
                <a16:creationId xmlns:a16="http://schemas.microsoft.com/office/drawing/2014/main" id="{0BE1F36D-CE08-4E29-00E1-D6B715EC359F}"/>
              </a:ext>
            </a:extLst>
          </p:cNvPr>
          <p:cNvGraphicFramePr>
            <a:graphicFrameLocks noGrp="1"/>
          </p:cNvGraphicFramePr>
          <p:nvPr>
            <p:extLst>
              <p:ext uri="{D42A27DB-BD31-4B8C-83A1-F6EECF244321}">
                <p14:modId xmlns:p14="http://schemas.microsoft.com/office/powerpoint/2010/main" val="1921819132"/>
              </p:ext>
            </p:extLst>
          </p:nvPr>
        </p:nvGraphicFramePr>
        <p:xfrm>
          <a:off x="7236823" y="758811"/>
          <a:ext cx="6662063" cy="929640"/>
        </p:xfrm>
        <a:graphic>
          <a:graphicData uri="http://schemas.openxmlformats.org/drawingml/2006/table">
            <a:tbl>
              <a:tblPr firstCol="1" bandRow="1">
                <a:tableStyleId>{85BE263C-DBD7-4A20-BB59-AAB30ACAA65A}</a:tableStyleId>
              </a:tblPr>
              <a:tblGrid>
                <a:gridCol w="1174155">
                  <a:extLst>
                    <a:ext uri="{9D8B030D-6E8A-4147-A177-3AD203B41FA5}">
                      <a16:colId xmlns:a16="http://schemas.microsoft.com/office/drawing/2014/main" val="123260567"/>
                    </a:ext>
                  </a:extLst>
                </a:gridCol>
                <a:gridCol w="5487908">
                  <a:extLst>
                    <a:ext uri="{9D8B030D-6E8A-4147-A177-3AD203B41FA5}">
                      <a16:colId xmlns:a16="http://schemas.microsoft.com/office/drawing/2014/main" val="1819922604"/>
                    </a:ext>
                  </a:extLst>
                </a:gridCol>
              </a:tblGrid>
              <a:tr h="594360">
                <a:tc>
                  <a:txBody>
                    <a:bodyPr/>
                    <a:lstStyle/>
                    <a:p>
                      <a:pPr algn="ctr"/>
                      <a:r>
                        <a:rPr lang="en-US" sz="1200" b="1" dirty="0"/>
                        <a:t>Goal </a:t>
                      </a:r>
                    </a:p>
                    <a:p>
                      <a:pPr algn="ctr"/>
                      <a:r>
                        <a:rPr lang="en-US" sz="1200" b="1" dirty="0"/>
                        <a:t>Stat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Migrate to existing CSS solution with required capabilities to support business growth as a bridge to S4 long-term solution (2033). Sterilmed will require adoption of existing CSS business processes and redesign for process gaps. CPI to document current state processes and systems landscape, fit-to-standard USROTC process assessment and design of required process changes with identification of process efficiency opport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9880518"/>
                  </a:ext>
                </a:extLst>
              </a:tr>
            </a:tbl>
          </a:graphicData>
        </a:graphic>
      </p:graphicFrame>
    </p:spTree>
    <p:extLst>
      <p:ext uri="{BB962C8B-B14F-4D97-AF65-F5344CB8AC3E}">
        <p14:creationId xmlns:p14="http://schemas.microsoft.com/office/powerpoint/2010/main" val="245322567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3DBAE-2742-9BEE-51D5-1451C45FB611}"/>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FB9856F1-95F8-3B2A-8A9E-5F4F611AF2EB}"/>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17D9436F-3CA4-5051-BCB7-0450EDE71BB7}"/>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Planning Assessment Results</a:t>
            </a:r>
          </a:p>
        </p:txBody>
      </p:sp>
      <p:pic>
        <p:nvPicPr>
          <p:cNvPr id="11" name="Picture 10">
            <a:extLst>
              <a:ext uri="{FF2B5EF4-FFF2-40B4-BE49-F238E27FC236}">
                <a16:creationId xmlns:a16="http://schemas.microsoft.com/office/drawing/2014/main" id="{14FF8A37-767D-84B8-4BBF-20D3DB966380}"/>
              </a:ext>
            </a:extLst>
          </p:cNvPr>
          <p:cNvPicPr>
            <a:picLocks noChangeAspect="1"/>
          </p:cNvPicPr>
          <p:nvPr/>
        </p:nvPicPr>
        <p:blipFill>
          <a:blip r:embed="rId3"/>
          <a:stretch>
            <a:fillRect/>
          </a:stretch>
        </p:blipFill>
        <p:spPr>
          <a:xfrm>
            <a:off x="554538" y="1412243"/>
            <a:ext cx="13521058" cy="6339300"/>
          </a:xfrm>
          <a:prstGeom prst="rect">
            <a:avLst/>
          </a:prstGeom>
        </p:spPr>
      </p:pic>
    </p:spTree>
    <p:extLst>
      <p:ext uri="{BB962C8B-B14F-4D97-AF65-F5344CB8AC3E}">
        <p14:creationId xmlns:p14="http://schemas.microsoft.com/office/powerpoint/2010/main" val="1453008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80C22-3E30-F855-DA61-9436E34982F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7F451E5-209B-5CE4-7B9F-DD51FF6B34BB}"/>
              </a:ext>
            </a:extLst>
          </p:cNvPr>
          <p:cNvSpPr/>
          <p:nvPr/>
        </p:nvSpPr>
        <p:spPr bwMode="auto">
          <a:xfrm>
            <a:off x="-731520" y="2"/>
            <a:ext cx="1609344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BB05F25D-3409-4991-E18B-6CAFC7F6AD0E}"/>
              </a:ext>
            </a:extLst>
          </p:cNvPr>
          <p:cNvSpPr txBox="1">
            <a:spLocks/>
          </p:cNvSpPr>
          <p:nvPr/>
        </p:nvSpPr>
        <p:spPr>
          <a:xfrm>
            <a:off x="-731653" y="888174"/>
            <a:ext cx="1609344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Pricing &amp; Contracting Assessment Results</a:t>
            </a:r>
          </a:p>
        </p:txBody>
      </p:sp>
      <p:pic>
        <p:nvPicPr>
          <p:cNvPr id="5" name="Picture 4">
            <a:extLst>
              <a:ext uri="{FF2B5EF4-FFF2-40B4-BE49-F238E27FC236}">
                <a16:creationId xmlns:a16="http://schemas.microsoft.com/office/drawing/2014/main" id="{F1B70BC2-4A45-F072-1FC4-EAF64310F910}"/>
              </a:ext>
            </a:extLst>
          </p:cNvPr>
          <p:cNvPicPr>
            <a:picLocks noChangeAspect="1"/>
          </p:cNvPicPr>
          <p:nvPr/>
        </p:nvPicPr>
        <p:blipFill>
          <a:blip r:embed="rId3"/>
          <a:stretch>
            <a:fillRect/>
          </a:stretch>
        </p:blipFill>
        <p:spPr>
          <a:xfrm>
            <a:off x="1809750" y="3148012"/>
            <a:ext cx="11010900" cy="1933575"/>
          </a:xfrm>
          <a:prstGeom prst="rect">
            <a:avLst/>
          </a:prstGeom>
        </p:spPr>
      </p:pic>
    </p:spTree>
    <p:extLst>
      <p:ext uri="{BB962C8B-B14F-4D97-AF65-F5344CB8AC3E}">
        <p14:creationId xmlns:p14="http://schemas.microsoft.com/office/powerpoint/2010/main" val="35264935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1D43E-B141-1F4F-71AF-E4A9A851E39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09CCF81-B2EE-95EF-A1F2-14DF41D07DA0}"/>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9EEDE324-3556-BAEB-D5A1-598F882F8056}"/>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Procure to Pay Assessment Results</a:t>
            </a:r>
          </a:p>
        </p:txBody>
      </p:sp>
      <p:pic>
        <p:nvPicPr>
          <p:cNvPr id="6" name="Picture 5">
            <a:extLst>
              <a:ext uri="{FF2B5EF4-FFF2-40B4-BE49-F238E27FC236}">
                <a16:creationId xmlns:a16="http://schemas.microsoft.com/office/drawing/2014/main" id="{64EE76D3-17DF-D28C-A45E-D76626E67F91}"/>
              </a:ext>
            </a:extLst>
          </p:cNvPr>
          <p:cNvPicPr>
            <a:picLocks noChangeAspect="1"/>
          </p:cNvPicPr>
          <p:nvPr/>
        </p:nvPicPr>
        <p:blipFill rotWithShape="1">
          <a:blip r:embed="rId3"/>
          <a:srcRect b="9221"/>
          <a:stretch/>
        </p:blipFill>
        <p:spPr>
          <a:xfrm>
            <a:off x="955495" y="1387429"/>
            <a:ext cx="12000216" cy="6486076"/>
          </a:xfrm>
          <a:prstGeom prst="rect">
            <a:avLst/>
          </a:prstGeom>
        </p:spPr>
      </p:pic>
    </p:spTree>
    <p:extLst>
      <p:ext uri="{BB962C8B-B14F-4D97-AF65-F5344CB8AC3E}">
        <p14:creationId xmlns:p14="http://schemas.microsoft.com/office/powerpoint/2010/main" val="22064882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D35A3-17C9-E70A-697B-18E8529DD45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24FA1A3-E36A-9358-B2BE-5EA9F5AB615B}"/>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D54F4599-00FD-9A9D-B4DC-3FC6133A90F2}"/>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Customer Quoting Assessment Results</a:t>
            </a:r>
          </a:p>
        </p:txBody>
      </p:sp>
      <p:pic>
        <p:nvPicPr>
          <p:cNvPr id="3" name="Picture 2">
            <a:extLst>
              <a:ext uri="{FF2B5EF4-FFF2-40B4-BE49-F238E27FC236}">
                <a16:creationId xmlns:a16="http://schemas.microsoft.com/office/drawing/2014/main" id="{9F2E6620-1954-757D-A633-9E49884D0924}"/>
              </a:ext>
            </a:extLst>
          </p:cNvPr>
          <p:cNvPicPr>
            <a:picLocks noChangeAspect="1"/>
          </p:cNvPicPr>
          <p:nvPr/>
        </p:nvPicPr>
        <p:blipFill>
          <a:blip r:embed="rId3"/>
          <a:stretch>
            <a:fillRect/>
          </a:stretch>
        </p:blipFill>
        <p:spPr>
          <a:xfrm>
            <a:off x="873303" y="1293754"/>
            <a:ext cx="12883794" cy="6916076"/>
          </a:xfrm>
          <a:prstGeom prst="rect">
            <a:avLst/>
          </a:prstGeom>
        </p:spPr>
      </p:pic>
    </p:spTree>
    <p:extLst>
      <p:ext uri="{BB962C8B-B14F-4D97-AF65-F5344CB8AC3E}">
        <p14:creationId xmlns:p14="http://schemas.microsoft.com/office/powerpoint/2010/main" val="266638251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0FE9C-B27A-43B7-BAFD-337310446A7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F0DF035-77BD-4B88-16C4-9E202296D33C}"/>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1277080E-A9AA-06F4-CF67-2ED96342282D}"/>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Customer Service Order Processing Assessment Results</a:t>
            </a:r>
          </a:p>
        </p:txBody>
      </p:sp>
      <p:pic>
        <p:nvPicPr>
          <p:cNvPr id="3" name="Picture 2">
            <a:extLst>
              <a:ext uri="{FF2B5EF4-FFF2-40B4-BE49-F238E27FC236}">
                <a16:creationId xmlns:a16="http://schemas.microsoft.com/office/drawing/2014/main" id="{E16DCB55-2851-C340-0B41-B87A01F003CE}"/>
              </a:ext>
            </a:extLst>
          </p:cNvPr>
          <p:cNvPicPr>
            <a:picLocks noChangeAspect="1"/>
          </p:cNvPicPr>
          <p:nvPr/>
        </p:nvPicPr>
        <p:blipFill>
          <a:blip r:embed="rId3"/>
          <a:stretch>
            <a:fillRect/>
          </a:stretch>
        </p:blipFill>
        <p:spPr>
          <a:xfrm>
            <a:off x="750010" y="1359749"/>
            <a:ext cx="13130374" cy="6320216"/>
          </a:xfrm>
          <a:prstGeom prst="rect">
            <a:avLst/>
          </a:prstGeom>
        </p:spPr>
      </p:pic>
    </p:spTree>
    <p:extLst>
      <p:ext uri="{BB962C8B-B14F-4D97-AF65-F5344CB8AC3E}">
        <p14:creationId xmlns:p14="http://schemas.microsoft.com/office/powerpoint/2010/main" val="22978994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FE839-A2FE-DD14-E786-D9CBA472D35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8988DB8-D725-EB78-8A7F-4963495696B3}"/>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C108640C-B6A4-48FE-1FA1-7A94FBA3FD64}"/>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Accounts Receivables Assessment Results</a:t>
            </a:r>
          </a:p>
        </p:txBody>
      </p:sp>
      <p:pic>
        <p:nvPicPr>
          <p:cNvPr id="9" name="Picture 8">
            <a:extLst>
              <a:ext uri="{FF2B5EF4-FFF2-40B4-BE49-F238E27FC236}">
                <a16:creationId xmlns:a16="http://schemas.microsoft.com/office/drawing/2014/main" id="{AD06CBB1-2860-5A1E-4723-197B96D1C8C7}"/>
              </a:ext>
            </a:extLst>
          </p:cNvPr>
          <p:cNvPicPr>
            <a:picLocks noChangeAspect="1"/>
          </p:cNvPicPr>
          <p:nvPr/>
        </p:nvPicPr>
        <p:blipFill>
          <a:blip r:embed="rId3"/>
          <a:stretch>
            <a:fillRect/>
          </a:stretch>
        </p:blipFill>
        <p:spPr>
          <a:xfrm>
            <a:off x="866291" y="1322801"/>
            <a:ext cx="12753975" cy="6858000"/>
          </a:xfrm>
          <a:prstGeom prst="rect">
            <a:avLst/>
          </a:prstGeom>
        </p:spPr>
      </p:pic>
    </p:spTree>
    <p:extLst>
      <p:ext uri="{BB962C8B-B14F-4D97-AF65-F5344CB8AC3E}">
        <p14:creationId xmlns:p14="http://schemas.microsoft.com/office/powerpoint/2010/main" val="131408614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1AA5EE-F6D7-F28B-545D-AC1A7234350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D3C28E6-933E-CF98-49F2-E3A5BCBDCF1C}"/>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A8BF9BB0-6C71-80AB-9A2A-34B96B44A3BE}"/>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Reporting Assessment Results</a:t>
            </a:r>
          </a:p>
        </p:txBody>
      </p:sp>
      <p:pic>
        <p:nvPicPr>
          <p:cNvPr id="5" name="Picture 4">
            <a:extLst>
              <a:ext uri="{FF2B5EF4-FFF2-40B4-BE49-F238E27FC236}">
                <a16:creationId xmlns:a16="http://schemas.microsoft.com/office/drawing/2014/main" id="{A46AF34A-A465-4F56-6D91-E15E34512A1F}"/>
              </a:ext>
            </a:extLst>
          </p:cNvPr>
          <p:cNvPicPr>
            <a:picLocks noChangeAspect="1"/>
          </p:cNvPicPr>
          <p:nvPr/>
        </p:nvPicPr>
        <p:blipFill>
          <a:blip r:embed="rId3"/>
          <a:stretch>
            <a:fillRect/>
          </a:stretch>
        </p:blipFill>
        <p:spPr>
          <a:xfrm>
            <a:off x="439286" y="1442305"/>
            <a:ext cx="13916216" cy="6147860"/>
          </a:xfrm>
          <a:prstGeom prst="rect">
            <a:avLst/>
          </a:prstGeom>
        </p:spPr>
      </p:pic>
    </p:spTree>
    <p:extLst>
      <p:ext uri="{BB962C8B-B14F-4D97-AF65-F5344CB8AC3E}">
        <p14:creationId xmlns:p14="http://schemas.microsoft.com/office/powerpoint/2010/main" val="24995681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C3492-1B1A-2DC1-D242-057219EF0C2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6DD9AF8-8E87-A451-9A9A-BE452E01D0E2}"/>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5280" b="0" i="0" u="none" strike="noStrike" kern="1200" cap="none" spc="0" normalizeH="0" baseline="0" noProof="0" dirty="0">
                <a:ln>
                  <a:noFill/>
                </a:ln>
                <a:solidFill>
                  <a:srgbClr val="FFFFFF"/>
                </a:solidFill>
                <a:effectLst/>
                <a:uLnTx/>
                <a:uFillTx/>
                <a:latin typeface="Johnson Text"/>
                <a:ea typeface="+mn-ea"/>
                <a:cs typeface="+mn-cs"/>
              </a:rPr>
              <a:t>Fit Gap Assessment Results</a:t>
            </a:r>
            <a:endParaRPr kumimoji="0" lang="en-US" sz="2400" b="0" i="0" u="none" strike="noStrike" kern="1200" cap="none" spc="0" normalizeH="0" baseline="0" noProof="0" dirty="0">
              <a:ln>
                <a:noFill/>
              </a:ln>
              <a:solidFill>
                <a:srgbClr val="564C47"/>
              </a:solidFill>
              <a:effectLst/>
              <a:uLnTx/>
              <a:uFillTx/>
              <a:latin typeface="Johnson Text"/>
              <a:ea typeface="+mn-ea"/>
              <a:cs typeface="+mn-cs"/>
            </a:endParaRPr>
          </a:p>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3840" b="0" i="0" u="none" strike="noStrike" kern="1200" cap="none" spc="0" normalizeH="0" baseline="0" noProof="0" dirty="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2A9769C5-4A67-8004-0067-757AC0D989FE}"/>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marR="0" lvl="0" indent="0" algn="ctr" defTabSz="1097280" rtl="0" eaLnBrk="1" fontAlgn="base" latinLnBrk="0" hangingPunct="1">
              <a:lnSpc>
                <a:spcPct val="100000"/>
              </a:lnSpc>
              <a:spcBef>
                <a:spcPts val="2160"/>
              </a:spcBef>
              <a:spcAft>
                <a:spcPct val="0"/>
              </a:spcAft>
              <a:buClr>
                <a:srgbClr val="63666A"/>
              </a:buClr>
              <a:buSzPct val="100000"/>
              <a:buFont typeface="Arial" pitchFamily="-65" charset="0"/>
              <a:buNone/>
              <a:tabLst/>
              <a:defRPr/>
            </a:pPr>
            <a:r>
              <a:rPr kumimoji="0" lang="en-US" sz="2400" b="0" i="0" u="none" strike="noStrike" kern="1200" cap="none" spc="0" normalizeH="0" baseline="0" noProof="0" dirty="0">
                <a:ln>
                  <a:noFill/>
                </a:ln>
                <a:solidFill>
                  <a:srgbClr val="000000"/>
                </a:solidFill>
                <a:effectLst/>
                <a:uLnTx/>
                <a:uFillTx/>
                <a:latin typeface="Johnson Text"/>
                <a:sym typeface="Arial" pitchFamily="-65" charset="0"/>
              </a:rPr>
              <a:t>Sterilmed ERP Migration – Tech Design Phase 0 – Non-Collection Returns, Vendor renewal and Business Scenarios Assessment Results</a:t>
            </a:r>
          </a:p>
        </p:txBody>
      </p:sp>
      <p:pic>
        <p:nvPicPr>
          <p:cNvPr id="6" name="Picture 5">
            <a:extLst>
              <a:ext uri="{FF2B5EF4-FFF2-40B4-BE49-F238E27FC236}">
                <a16:creationId xmlns:a16="http://schemas.microsoft.com/office/drawing/2014/main" id="{32331E71-A58B-5F31-E424-30FEC552038D}"/>
              </a:ext>
            </a:extLst>
          </p:cNvPr>
          <p:cNvPicPr>
            <a:picLocks noChangeAspect="1"/>
          </p:cNvPicPr>
          <p:nvPr/>
        </p:nvPicPr>
        <p:blipFill>
          <a:blip r:embed="rId3"/>
          <a:stretch>
            <a:fillRect/>
          </a:stretch>
        </p:blipFill>
        <p:spPr>
          <a:xfrm>
            <a:off x="225204" y="1843154"/>
            <a:ext cx="13481084" cy="5498272"/>
          </a:xfrm>
          <a:prstGeom prst="rect">
            <a:avLst/>
          </a:prstGeom>
        </p:spPr>
      </p:pic>
    </p:spTree>
    <p:extLst>
      <p:ext uri="{BB962C8B-B14F-4D97-AF65-F5344CB8AC3E}">
        <p14:creationId xmlns:p14="http://schemas.microsoft.com/office/powerpoint/2010/main" val="41012892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CF6226A-C1B9-FC76-3081-183E76BFB252}"/>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B8D6FBC2-98FB-3D6E-BF27-D32C91FF5A4D}"/>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5" name="Rectangle 4">
            <a:extLst>
              <a:ext uri="{FF2B5EF4-FFF2-40B4-BE49-F238E27FC236}">
                <a16:creationId xmlns:a16="http://schemas.microsoft.com/office/drawing/2014/main" id="{A3EAA2F2-BBAF-B2CC-2587-FC83B9B52F5B}"/>
              </a:ext>
            </a:extLst>
          </p:cNvPr>
          <p:cNvSpPr/>
          <p:nvPr/>
        </p:nvSpPr>
        <p:spPr bwMode="auto">
          <a:xfrm>
            <a:off x="7140539" y="4482913"/>
            <a:ext cx="6215865" cy="3045826"/>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6" name="Rectangle 5">
            <a:extLst>
              <a:ext uri="{FF2B5EF4-FFF2-40B4-BE49-F238E27FC236}">
                <a16:creationId xmlns:a16="http://schemas.microsoft.com/office/drawing/2014/main" id="{720F41FB-CF23-5237-1314-A5752C0E4A75}"/>
              </a:ext>
            </a:extLst>
          </p:cNvPr>
          <p:cNvSpPr/>
          <p:nvPr/>
        </p:nvSpPr>
        <p:spPr>
          <a:xfrm>
            <a:off x="587799" y="2599688"/>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7" name="Rectangle 6">
            <a:extLst>
              <a:ext uri="{FF2B5EF4-FFF2-40B4-BE49-F238E27FC236}">
                <a16:creationId xmlns:a16="http://schemas.microsoft.com/office/drawing/2014/main" id="{8C7B4F98-1281-EAC1-2AE1-1C3B696EE12B}"/>
              </a:ext>
            </a:extLst>
          </p:cNvPr>
          <p:cNvSpPr/>
          <p:nvPr/>
        </p:nvSpPr>
        <p:spPr>
          <a:xfrm>
            <a:off x="7204065" y="4430544"/>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8" name="Text Placeholder 2">
            <a:extLst>
              <a:ext uri="{FF2B5EF4-FFF2-40B4-BE49-F238E27FC236}">
                <a16:creationId xmlns:a16="http://schemas.microsoft.com/office/drawing/2014/main" id="{06036A17-C6CE-7C04-0273-4E30CE6F4161}"/>
              </a:ext>
            </a:extLst>
          </p:cNvPr>
          <p:cNvSpPr txBox="1">
            <a:spLocks/>
          </p:cNvSpPr>
          <p:nvPr/>
        </p:nvSpPr>
        <p:spPr>
          <a:xfrm>
            <a:off x="628895" y="2121770"/>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Sterilmed ID (SMID) / GPO ID Creation</a:t>
            </a:r>
          </a:p>
        </p:txBody>
      </p:sp>
      <p:sp>
        <p:nvSpPr>
          <p:cNvPr id="9" name="Line Callout 1 15">
            <a:extLst>
              <a:ext uri="{FF2B5EF4-FFF2-40B4-BE49-F238E27FC236}">
                <a16:creationId xmlns:a16="http://schemas.microsoft.com/office/drawing/2014/main" id="{17D18D43-95BA-6664-95CD-7D6F1A02E18E}"/>
              </a:ext>
            </a:extLst>
          </p:cNvPr>
          <p:cNvSpPr/>
          <p:nvPr/>
        </p:nvSpPr>
        <p:spPr bwMode="auto">
          <a:xfrm>
            <a:off x="7099443" y="2546135"/>
            <a:ext cx="6456787" cy="1784166"/>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Pricing and Contracting spends about 75% of their time, 800 hours annually, manually tracking keystrokes in the Great Plains system to support required business controls.</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Most notable finding is GPO ID #:  Sterilmed currently maintains a very manual process to update the data field “GPO ID” in our SIS System (our Customer Master) linked to the appropriate SMID/UCN.</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MDM Team says GPO rosters are loaded first into MDM as a one to many relationship and then flow to ICS (Model N) so this work may be done but needs to be tested. </a:t>
            </a:r>
          </a:p>
        </p:txBody>
      </p:sp>
      <p:pic>
        <p:nvPicPr>
          <p:cNvPr id="10" name="Picture 9">
            <a:extLst>
              <a:ext uri="{FF2B5EF4-FFF2-40B4-BE49-F238E27FC236}">
                <a16:creationId xmlns:a16="http://schemas.microsoft.com/office/drawing/2014/main" id="{D3879D60-891C-EB53-9547-3B937824FB68}"/>
              </a:ext>
            </a:extLst>
          </p:cNvPr>
          <p:cNvPicPr>
            <a:picLocks noChangeAspect="1"/>
          </p:cNvPicPr>
          <p:nvPr/>
        </p:nvPicPr>
        <p:blipFill>
          <a:blip r:embed="rId2"/>
          <a:stretch>
            <a:fillRect/>
          </a:stretch>
        </p:blipFill>
        <p:spPr>
          <a:xfrm>
            <a:off x="628895" y="3334783"/>
            <a:ext cx="5888682" cy="2739542"/>
          </a:xfrm>
          <a:prstGeom prst="rect">
            <a:avLst/>
          </a:prstGeom>
        </p:spPr>
      </p:pic>
      <p:pic>
        <p:nvPicPr>
          <p:cNvPr id="11" name="Picture 10">
            <a:extLst>
              <a:ext uri="{FF2B5EF4-FFF2-40B4-BE49-F238E27FC236}">
                <a16:creationId xmlns:a16="http://schemas.microsoft.com/office/drawing/2014/main" id="{146DD233-E565-6C28-565E-69CF97DD149C}"/>
              </a:ext>
            </a:extLst>
          </p:cNvPr>
          <p:cNvPicPr>
            <a:picLocks noChangeAspect="1"/>
          </p:cNvPicPr>
          <p:nvPr/>
        </p:nvPicPr>
        <p:blipFill>
          <a:blip r:embed="rId3"/>
          <a:stretch>
            <a:fillRect/>
          </a:stretch>
        </p:blipFill>
        <p:spPr>
          <a:xfrm>
            <a:off x="9007764" y="5573118"/>
            <a:ext cx="1495425" cy="1914525"/>
          </a:xfrm>
          <a:prstGeom prst="rect">
            <a:avLst/>
          </a:prstGeom>
        </p:spPr>
      </p:pic>
      <p:sp>
        <p:nvSpPr>
          <p:cNvPr id="13" name="Title 1">
            <a:extLst>
              <a:ext uri="{FF2B5EF4-FFF2-40B4-BE49-F238E27FC236}">
                <a16:creationId xmlns:a16="http://schemas.microsoft.com/office/drawing/2014/main" id="{0E4440E6-5407-9CDC-A54B-0562DF3A90E6}"/>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Tree>
    <p:extLst>
      <p:ext uri="{BB962C8B-B14F-4D97-AF65-F5344CB8AC3E}">
        <p14:creationId xmlns:p14="http://schemas.microsoft.com/office/powerpoint/2010/main" val="156521455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5EDC1-AD4C-5DF3-2C7D-D0C07D35809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EEAD0050-29C8-D003-DB70-A9568148AD44}"/>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D9EDE616-427B-0121-A1A7-C8B277E1BD74}"/>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3F8BFC83-134C-E5CF-4237-C9F0A184F499}"/>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3" name="Rectangle 2">
            <a:extLst>
              <a:ext uri="{FF2B5EF4-FFF2-40B4-BE49-F238E27FC236}">
                <a16:creationId xmlns:a16="http://schemas.microsoft.com/office/drawing/2014/main" id="{61CFA090-5621-E018-C002-AAE58CE6591F}"/>
              </a:ext>
            </a:extLst>
          </p:cNvPr>
          <p:cNvSpPr/>
          <p:nvPr/>
        </p:nvSpPr>
        <p:spPr bwMode="auto">
          <a:xfrm>
            <a:off x="7294650" y="4452084"/>
            <a:ext cx="5414484" cy="2986406"/>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2" name="Rectangle 11">
            <a:extLst>
              <a:ext uri="{FF2B5EF4-FFF2-40B4-BE49-F238E27FC236}">
                <a16:creationId xmlns:a16="http://schemas.microsoft.com/office/drawing/2014/main" id="{A9765AB0-6E07-2714-A7EF-F85C0304E997}"/>
              </a:ext>
            </a:extLst>
          </p:cNvPr>
          <p:cNvSpPr/>
          <p:nvPr/>
        </p:nvSpPr>
        <p:spPr>
          <a:xfrm>
            <a:off x="587799" y="2588862"/>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14" name="Rectangle 13">
            <a:extLst>
              <a:ext uri="{FF2B5EF4-FFF2-40B4-BE49-F238E27FC236}">
                <a16:creationId xmlns:a16="http://schemas.microsoft.com/office/drawing/2014/main" id="{4BEA5C3B-08C1-90C5-FDD2-3CC7322BF1EC}"/>
              </a:ext>
            </a:extLst>
          </p:cNvPr>
          <p:cNvSpPr/>
          <p:nvPr/>
        </p:nvSpPr>
        <p:spPr>
          <a:xfrm>
            <a:off x="7204065" y="3971581"/>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15" name="Text Placeholder 2">
            <a:extLst>
              <a:ext uri="{FF2B5EF4-FFF2-40B4-BE49-F238E27FC236}">
                <a16:creationId xmlns:a16="http://schemas.microsoft.com/office/drawing/2014/main" id="{2257AE14-54D3-7141-6B46-EE9FAD967E1D}"/>
              </a:ext>
            </a:extLst>
          </p:cNvPr>
          <p:cNvSpPr txBox="1">
            <a:spLocks/>
          </p:cNvSpPr>
          <p:nvPr/>
        </p:nvSpPr>
        <p:spPr>
          <a:xfrm>
            <a:off x="628895" y="2208679"/>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Inventory Valuation</a:t>
            </a:r>
          </a:p>
        </p:txBody>
      </p:sp>
      <p:sp>
        <p:nvSpPr>
          <p:cNvPr id="16" name="Line Callout 1 15">
            <a:extLst>
              <a:ext uri="{FF2B5EF4-FFF2-40B4-BE49-F238E27FC236}">
                <a16:creationId xmlns:a16="http://schemas.microsoft.com/office/drawing/2014/main" id="{5FDBB130-7649-0BEF-CD9C-EC1ECDB662E2}"/>
              </a:ext>
            </a:extLst>
          </p:cNvPr>
          <p:cNvSpPr/>
          <p:nvPr/>
        </p:nvSpPr>
        <p:spPr bwMode="auto">
          <a:xfrm>
            <a:off x="7217655" y="2746213"/>
            <a:ext cx="6456787" cy="1070493"/>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BWI JDE automatically calculates inventory </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The hours eliminated would be ~100 hours/year, when you factor in the time doing inventory tie outs and manual revaluation at year end.</a:t>
            </a:r>
          </a:p>
        </p:txBody>
      </p:sp>
      <p:pic>
        <p:nvPicPr>
          <p:cNvPr id="17" name="Picture 16">
            <a:extLst>
              <a:ext uri="{FF2B5EF4-FFF2-40B4-BE49-F238E27FC236}">
                <a16:creationId xmlns:a16="http://schemas.microsoft.com/office/drawing/2014/main" id="{19D410A1-1FF6-D311-651B-E122B5F77286}"/>
              </a:ext>
            </a:extLst>
          </p:cNvPr>
          <p:cNvPicPr>
            <a:picLocks noChangeAspect="1"/>
          </p:cNvPicPr>
          <p:nvPr/>
        </p:nvPicPr>
        <p:blipFill rotWithShape="1">
          <a:blip r:embed="rId2"/>
          <a:srcRect t="28621"/>
          <a:stretch/>
        </p:blipFill>
        <p:spPr>
          <a:xfrm>
            <a:off x="516075" y="2982517"/>
            <a:ext cx="5320436" cy="2720158"/>
          </a:xfrm>
          <a:prstGeom prst="rect">
            <a:avLst/>
          </a:prstGeom>
        </p:spPr>
      </p:pic>
      <p:pic>
        <p:nvPicPr>
          <p:cNvPr id="18" name="Picture 17">
            <a:extLst>
              <a:ext uri="{FF2B5EF4-FFF2-40B4-BE49-F238E27FC236}">
                <a16:creationId xmlns:a16="http://schemas.microsoft.com/office/drawing/2014/main" id="{F5598614-2F5D-E1F8-04BA-E7087BDE989C}"/>
              </a:ext>
            </a:extLst>
          </p:cNvPr>
          <p:cNvPicPr>
            <a:picLocks noChangeAspect="1"/>
          </p:cNvPicPr>
          <p:nvPr/>
        </p:nvPicPr>
        <p:blipFill>
          <a:blip r:embed="rId3"/>
          <a:stretch>
            <a:fillRect/>
          </a:stretch>
        </p:blipFill>
        <p:spPr>
          <a:xfrm>
            <a:off x="7540576" y="4415493"/>
            <a:ext cx="4192510" cy="3022997"/>
          </a:xfrm>
          <a:prstGeom prst="rect">
            <a:avLst/>
          </a:prstGeom>
        </p:spPr>
      </p:pic>
    </p:spTree>
    <p:extLst>
      <p:ext uri="{BB962C8B-B14F-4D97-AF65-F5344CB8AC3E}">
        <p14:creationId xmlns:p14="http://schemas.microsoft.com/office/powerpoint/2010/main" val="11243442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96E818-9D77-DD4D-9D2D-FA49C0512046}"/>
              </a:ext>
            </a:extLst>
          </p:cNvPr>
          <p:cNvSpPr>
            <a:spLocks noGrp="1"/>
          </p:cNvSpPr>
          <p:nvPr>
            <p:ph type="ctrTitle"/>
          </p:nvPr>
        </p:nvSpPr>
        <p:spPr>
          <a:xfrm>
            <a:off x="341767" y="315204"/>
            <a:ext cx="11587343" cy="3141168"/>
          </a:xfrm>
        </p:spPr>
        <p:txBody>
          <a:bodyPr wrap="square" anchor="t">
            <a:normAutofit/>
          </a:bodyPr>
          <a:lstStyle/>
          <a:p>
            <a:r>
              <a:rPr lang="en-US" dirty="0"/>
              <a:t>Define</a:t>
            </a:r>
          </a:p>
        </p:txBody>
      </p:sp>
    </p:spTree>
    <p:extLst>
      <p:ext uri="{BB962C8B-B14F-4D97-AF65-F5344CB8AC3E}">
        <p14:creationId xmlns:p14="http://schemas.microsoft.com/office/powerpoint/2010/main" val="407618364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90193-A1EF-4EA9-A6D5-AA8EC187D11B}"/>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8F22FC95-5C46-A13A-0413-34FCB5670144}"/>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1A0799C6-DA26-489F-18E2-506A02FB6218}"/>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3ABBCA3B-4FE3-73CA-923E-0C9F6A915068}"/>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5" name="Rectangle 4">
            <a:extLst>
              <a:ext uri="{FF2B5EF4-FFF2-40B4-BE49-F238E27FC236}">
                <a16:creationId xmlns:a16="http://schemas.microsoft.com/office/drawing/2014/main" id="{D1B2711E-67C0-ACC6-745C-818D28BCABCA}"/>
              </a:ext>
            </a:extLst>
          </p:cNvPr>
          <p:cNvSpPr/>
          <p:nvPr/>
        </p:nvSpPr>
        <p:spPr bwMode="auto">
          <a:xfrm>
            <a:off x="7109717" y="4587677"/>
            <a:ext cx="6564725" cy="3061498"/>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6" name="Rectangle 5">
            <a:extLst>
              <a:ext uri="{FF2B5EF4-FFF2-40B4-BE49-F238E27FC236}">
                <a16:creationId xmlns:a16="http://schemas.microsoft.com/office/drawing/2014/main" id="{19019227-8310-E92E-3BFE-E61B476B841A}"/>
              </a:ext>
            </a:extLst>
          </p:cNvPr>
          <p:cNvSpPr/>
          <p:nvPr/>
        </p:nvSpPr>
        <p:spPr>
          <a:xfrm>
            <a:off x="587799" y="2322956"/>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7" name="Rectangle 6">
            <a:extLst>
              <a:ext uri="{FF2B5EF4-FFF2-40B4-BE49-F238E27FC236}">
                <a16:creationId xmlns:a16="http://schemas.microsoft.com/office/drawing/2014/main" id="{B936D903-C14C-2982-D6C0-92EE06C580DE}"/>
              </a:ext>
            </a:extLst>
          </p:cNvPr>
          <p:cNvSpPr/>
          <p:nvPr/>
        </p:nvSpPr>
        <p:spPr>
          <a:xfrm>
            <a:off x="7204065" y="4147996"/>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8" name="Text Placeholder 2">
            <a:extLst>
              <a:ext uri="{FF2B5EF4-FFF2-40B4-BE49-F238E27FC236}">
                <a16:creationId xmlns:a16="http://schemas.microsoft.com/office/drawing/2014/main" id="{5BE278B7-1764-96FA-6DF5-588CA25604BD}"/>
              </a:ext>
            </a:extLst>
          </p:cNvPr>
          <p:cNvSpPr txBox="1">
            <a:spLocks/>
          </p:cNvSpPr>
          <p:nvPr/>
        </p:nvSpPr>
        <p:spPr>
          <a:xfrm>
            <a:off x="628895" y="1989420"/>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Accounts Payable</a:t>
            </a:r>
          </a:p>
        </p:txBody>
      </p:sp>
      <p:sp>
        <p:nvSpPr>
          <p:cNvPr id="9" name="Line Callout 1 15">
            <a:extLst>
              <a:ext uri="{FF2B5EF4-FFF2-40B4-BE49-F238E27FC236}">
                <a16:creationId xmlns:a16="http://schemas.microsoft.com/office/drawing/2014/main" id="{C54F1658-1981-FFC4-D1BF-5AC2E050EDEB}"/>
              </a:ext>
            </a:extLst>
          </p:cNvPr>
          <p:cNvSpPr/>
          <p:nvPr/>
        </p:nvSpPr>
        <p:spPr bwMode="auto">
          <a:xfrm>
            <a:off x="7163685" y="2333657"/>
            <a:ext cx="6456787" cy="1847561"/>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No gaps  and Eliminate all dependencies on Great Plains and moving to standard existing processes and systems such a U</a:t>
            </a:r>
            <a:r>
              <a:rPr lang="en-US" sz="1200" kern="0" dirty="0">
                <a:solidFill>
                  <a:schemeClr val="bg1"/>
                </a:solidFill>
                <a:cs typeface="Arial" panose="020B0604020202020204" pitchFamily="34" charset="0"/>
              </a:rPr>
              <a:t>SROTC, BtB NA, Aravo, HighRadius.</a:t>
            </a:r>
          </a:p>
          <a:p>
            <a:pPr marL="287338" indent="-173038" defTabSz="1097280" fontAlgn="auto">
              <a:spcBef>
                <a:spcPts val="0"/>
              </a:spcBef>
              <a:spcAft>
                <a:spcPts val="0"/>
              </a:spcAft>
              <a:buFontTx/>
              <a:buChar char="-"/>
              <a:defRPr/>
            </a:pPr>
            <a:r>
              <a:rPr lang="en-US" sz="1200" kern="0" dirty="0">
                <a:solidFill>
                  <a:schemeClr val="bg1"/>
                </a:solidFill>
                <a:cs typeface="Arial" panose="020B0604020202020204" pitchFamily="34" charset="0"/>
              </a:rPr>
              <a:t>Save 75 FTE Hours by using USROTC connection exists already to BtB eliminating manual entry that was done in Great Plains.</a:t>
            </a:r>
          </a:p>
          <a:p>
            <a:pPr marL="287338" indent="-173038" defTabSz="1097280" fontAlgn="auto">
              <a:spcBef>
                <a:spcPts val="0"/>
              </a:spcBef>
              <a:spcAft>
                <a:spcPts val="0"/>
              </a:spcAft>
              <a:buFontTx/>
              <a:buChar char="-"/>
              <a:defRPr/>
            </a:pPr>
            <a:r>
              <a:rPr lang="en-US" sz="1200" kern="0" dirty="0">
                <a:solidFill>
                  <a:schemeClr val="bg1"/>
                </a:solidFill>
                <a:cs typeface="Arial" panose="020B0604020202020204" pitchFamily="34" charset="0"/>
              </a:rPr>
              <a:t>Leverage USROTC system and Credit Request team that does this for BWI currently.</a:t>
            </a:r>
          </a:p>
          <a:p>
            <a:pPr marL="287338" indent="-173038" defTabSz="1097280" fontAlgn="auto">
              <a:spcBef>
                <a:spcPts val="0"/>
              </a:spcBef>
              <a:spcAft>
                <a:spcPts val="0"/>
              </a:spcAft>
              <a:buFontTx/>
              <a:buChar char="-"/>
              <a:defRPr/>
            </a:pPr>
            <a:r>
              <a:rPr lang="en-US" sz="1200" kern="0" dirty="0">
                <a:solidFill>
                  <a:schemeClr val="bg1"/>
                </a:solidFill>
                <a:cs typeface="Arial" panose="020B0604020202020204" pitchFamily="34" charset="0"/>
              </a:rPr>
              <a:t>If we improve this Gross To Net process and close process overall, then Sterilmed may no longer need to close its books 3 days earlier than the rest of the J&amp;J MedTech operating companies </a:t>
            </a:r>
          </a:p>
        </p:txBody>
      </p:sp>
      <p:pic>
        <p:nvPicPr>
          <p:cNvPr id="10" name="Picture 9">
            <a:extLst>
              <a:ext uri="{FF2B5EF4-FFF2-40B4-BE49-F238E27FC236}">
                <a16:creationId xmlns:a16="http://schemas.microsoft.com/office/drawing/2014/main" id="{7A8192D2-F92C-B361-4EB8-4E7C1EF53F05}"/>
              </a:ext>
            </a:extLst>
          </p:cNvPr>
          <p:cNvPicPr>
            <a:picLocks noChangeAspect="1"/>
          </p:cNvPicPr>
          <p:nvPr/>
        </p:nvPicPr>
        <p:blipFill>
          <a:blip r:embed="rId2"/>
          <a:stretch>
            <a:fillRect/>
          </a:stretch>
        </p:blipFill>
        <p:spPr>
          <a:xfrm flipH="1">
            <a:off x="458760" y="2659995"/>
            <a:ext cx="3592340" cy="2844654"/>
          </a:xfrm>
          <a:prstGeom prst="rect">
            <a:avLst/>
          </a:prstGeom>
        </p:spPr>
      </p:pic>
      <p:pic>
        <p:nvPicPr>
          <p:cNvPr id="11" name="Picture 10">
            <a:extLst>
              <a:ext uri="{FF2B5EF4-FFF2-40B4-BE49-F238E27FC236}">
                <a16:creationId xmlns:a16="http://schemas.microsoft.com/office/drawing/2014/main" id="{211517A2-A058-3B7D-929F-7919FF69DAB0}"/>
              </a:ext>
            </a:extLst>
          </p:cNvPr>
          <p:cNvPicPr>
            <a:picLocks noChangeAspect="1"/>
          </p:cNvPicPr>
          <p:nvPr/>
        </p:nvPicPr>
        <p:blipFill>
          <a:blip r:embed="rId3"/>
          <a:stretch>
            <a:fillRect/>
          </a:stretch>
        </p:blipFill>
        <p:spPr>
          <a:xfrm>
            <a:off x="4051100" y="2933597"/>
            <a:ext cx="2952868" cy="2471026"/>
          </a:xfrm>
          <a:prstGeom prst="rect">
            <a:avLst/>
          </a:prstGeom>
        </p:spPr>
      </p:pic>
      <p:pic>
        <p:nvPicPr>
          <p:cNvPr id="19" name="Picture 18">
            <a:extLst>
              <a:ext uri="{FF2B5EF4-FFF2-40B4-BE49-F238E27FC236}">
                <a16:creationId xmlns:a16="http://schemas.microsoft.com/office/drawing/2014/main" id="{61AAC597-6516-C72F-ECB7-C37458559722}"/>
              </a:ext>
            </a:extLst>
          </p:cNvPr>
          <p:cNvPicPr>
            <a:picLocks noChangeAspect="1"/>
          </p:cNvPicPr>
          <p:nvPr/>
        </p:nvPicPr>
        <p:blipFill>
          <a:blip r:embed="rId4"/>
          <a:stretch>
            <a:fillRect/>
          </a:stretch>
        </p:blipFill>
        <p:spPr>
          <a:xfrm>
            <a:off x="492408" y="5275851"/>
            <a:ext cx="4073896" cy="1595538"/>
          </a:xfrm>
          <a:prstGeom prst="rect">
            <a:avLst/>
          </a:prstGeom>
        </p:spPr>
      </p:pic>
      <p:pic>
        <p:nvPicPr>
          <p:cNvPr id="20" name="Picture 19">
            <a:extLst>
              <a:ext uri="{FF2B5EF4-FFF2-40B4-BE49-F238E27FC236}">
                <a16:creationId xmlns:a16="http://schemas.microsoft.com/office/drawing/2014/main" id="{2664E573-A3D1-DFEC-8D07-C70932E74C18}"/>
              </a:ext>
            </a:extLst>
          </p:cNvPr>
          <p:cNvPicPr>
            <a:picLocks noChangeAspect="1"/>
          </p:cNvPicPr>
          <p:nvPr/>
        </p:nvPicPr>
        <p:blipFill>
          <a:blip r:embed="rId5"/>
          <a:stretch>
            <a:fillRect/>
          </a:stretch>
        </p:blipFill>
        <p:spPr>
          <a:xfrm rot="10800000" flipV="1">
            <a:off x="3062079" y="6027173"/>
            <a:ext cx="3727780" cy="1459980"/>
          </a:xfrm>
          <a:prstGeom prst="rect">
            <a:avLst/>
          </a:prstGeom>
        </p:spPr>
      </p:pic>
      <p:pic>
        <p:nvPicPr>
          <p:cNvPr id="21" name="Picture 20">
            <a:extLst>
              <a:ext uri="{FF2B5EF4-FFF2-40B4-BE49-F238E27FC236}">
                <a16:creationId xmlns:a16="http://schemas.microsoft.com/office/drawing/2014/main" id="{6546D7E7-D794-96B6-DDB7-BF1650895B26}"/>
              </a:ext>
            </a:extLst>
          </p:cNvPr>
          <p:cNvPicPr>
            <a:picLocks noChangeAspect="1"/>
          </p:cNvPicPr>
          <p:nvPr/>
        </p:nvPicPr>
        <p:blipFill>
          <a:blip r:embed="rId6"/>
          <a:stretch>
            <a:fillRect/>
          </a:stretch>
        </p:blipFill>
        <p:spPr>
          <a:xfrm>
            <a:off x="7109717" y="4572728"/>
            <a:ext cx="3372306" cy="2429476"/>
          </a:xfrm>
          <a:prstGeom prst="rect">
            <a:avLst/>
          </a:prstGeom>
        </p:spPr>
      </p:pic>
      <p:pic>
        <p:nvPicPr>
          <p:cNvPr id="22" name="Picture 21">
            <a:extLst>
              <a:ext uri="{FF2B5EF4-FFF2-40B4-BE49-F238E27FC236}">
                <a16:creationId xmlns:a16="http://schemas.microsoft.com/office/drawing/2014/main" id="{AD1EEC96-820D-7CA4-5BDA-98CAEFCDE603}"/>
              </a:ext>
            </a:extLst>
          </p:cNvPr>
          <p:cNvPicPr>
            <a:picLocks noChangeAspect="1"/>
          </p:cNvPicPr>
          <p:nvPr/>
        </p:nvPicPr>
        <p:blipFill>
          <a:blip r:embed="rId7"/>
          <a:stretch>
            <a:fillRect/>
          </a:stretch>
        </p:blipFill>
        <p:spPr>
          <a:xfrm>
            <a:off x="10576371" y="4442468"/>
            <a:ext cx="2952938" cy="1800990"/>
          </a:xfrm>
          <a:prstGeom prst="rect">
            <a:avLst/>
          </a:prstGeom>
        </p:spPr>
      </p:pic>
      <p:pic>
        <p:nvPicPr>
          <p:cNvPr id="23" name="Picture 22">
            <a:extLst>
              <a:ext uri="{FF2B5EF4-FFF2-40B4-BE49-F238E27FC236}">
                <a16:creationId xmlns:a16="http://schemas.microsoft.com/office/drawing/2014/main" id="{07A9307A-D289-719C-CB11-958FEBD8914D}"/>
              </a:ext>
            </a:extLst>
          </p:cNvPr>
          <p:cNvPicPr>
            <a:picLocks noChangeAspect="1"/>
          </p:cNvPicPr>
          <p:nvPr/>
        </p:nvPicPr>
        <p:blipFill>
          <a:blip r:embed="rId8"/>
          <a:stretch>
            <a:fillRect/>
          </a:stretch>
        </p:blipFill>
        <p:spPr>
          <a:xfrm>
            <a:off x="10509848" y="5902521"/>
            <a:ext cx="3359484" cy="1315738"/>
          </a:xfrm>
          <a:prstGeom prst="rect">
            <a:avLst/>
          </a:prstGeom>
        </p:spPr>
      </p:pic>
      <p:pic>
        <p:nvPicPr>
          <p:cNvPr id="24" name="Picture 23">
            <a:extLst>
              <a:ext uri="{FF2B5EF4-FFF2-40B4-BE49-F238E27FC236}">
                <a16:creationId xmlns:a16="http://schemas.microsoft.com/office/drawing/2014/main" id="{B936E412-0DF2-191B-11F2-9FC80995AFE5}"/>
              </a:ext>
            </a:extLst>
          </p:cNvPr>
          <p:cNvPicPr>
            <a:picLocks noChangeAspect="1"/>
          </p:cNvPicPr>
          <p:nvPr/>
        </p:nvPicPr>
        <p:blipFill>
          <a:blip r:embed="rId9"/>
          <a:stretch>
            <a:fillRect/>
          </a:stretch>
        </p:blipFill>
        <p:spPr>
          <a:xfrm>
            <a:off x="7122589" y="7059018"/>
            <a:ext cx="2671280" cy="1129088"/>
          </a:xfrm>
          <a:prstGeom prst="rect">
            <a:avLst/>
          </a:prstGeom>
        </p:spPr>
      </p:pic>
      <p:pic>
        <p:nvPicPr>
          <p:cNvPr id="25" name="Picture 24">
            <a:extLst>
              <a:ext uri="{FF2B5EF4-FFF2-40B4-BE49-F238E27FC236}">
                <a16:creationId xmlns:a16="http://schemas.microsoft.com/office/drawing/2014/main" id="{D47467C1-6935-FF9F-34DD-4C35B95AD883}"/>
              </a:ext>
            </a:extLst>
          </p:cNvPr>
          <p:cNvPicPr>
            <a:picLocks noChangeAspect="1"/>
          </p:cNvPicPr>
          <p:nvPr/>
        </p:nvPicPr>
        <p:blipFill>
          <a:blip r:embed="rId10"/>
          <a:stretch>
            <a:fillRect/>
          </a:stretch>
        </p:blipFill>
        <p:spPr>
          <a:xfrm rot="10800000" flipV="1">
            <a:off x="7750436" y="5840780"/>
            <a:ext cx="2680802" cy="1808394"/>
          </a:xfrm>
          <a:prstGeom prst="rect">
            <a:avLst/>
          </a:prstGeom>
        </p:spPr>
      </p:pic>
    </p:spTree>
    <p:extLst>
      <p:ext uri="{BB962C8B-B14F-4D97-AF65-F5344CB8AC3E}">
        <p14:creationId xmlns:p14="http://schemas.microsoft.com/office/powerpoint/2010/main" val="15618414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DB3C8-DD14-02A9-42F0-9DC46F9DDD2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0B3B711-1A00-FAE4-FF1F-62E1A5FC24C1}"/>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F3ED8CD4-E0F7-DC01-38AB-03E1E3E67AB6}"/>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4F54ADDA-7482-EAE1-1B06-B4AAAE1F27BD}"/>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3" name="Rectangle 2">
            <a:extLst>
              <a:ext uri="{FF2B5EF4-FFF2-40B4-BE49-F238E27FC236}">
                <a16:creationId xmlns:a16="http://schemas.microsoft.com/office/drawing/2014/main" id="{F6B93DE7-5F55-8F69-662F-854E711CD1CA}"/>
              </a:ext>
            </a:extLst>
          </p:cNvPr>
          <p:cNvSpPr/>
          <p:nvPr/>
        </p:nvSpPr>
        <p:spPr bwMode="auto">
          <a:xfrm>
            <a:off x="7207262" y="4694880"/>
            <a:ext cx="6564725" cy="2918271"/>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aphicFrame>
        <p:nvGraphicFramePr>
          <p:cNvPr id="12" name="Object 11">
            <a:extLst>
              <a:ext uri="{FF2B5EF4-FFF2-40B4-BE49-F238E27FC236}">
                <a16:creationId xmlns:a16="http://schemas.microsoft.com/office/drawing/2014/main" id="{1C954E44-736F-B1B7-FA4D-4402A889C0CD}"/>
              </a:ext>
            </a:extLst>
          </p:cNvPr>
          <p:cNvGraphicFramePr>
            <a:graphicFrameLocks noChangeAspect="1"/>
          </p:cNvGraphicFramePr>
          <p:nvPr>
            <p:extLst>
              <p:ext uri="{D42A27DB-BD31-4B8C-83A1-F6EECF244321}">
                <p14:modId xmlns:p14="http://schemas.microsoft.com/office/powerpoint/2010/main" val="1706316211"/>
              </p:ext>
            </p:extLst>
          </p:nvPr>
        </p:nvGraphicFramePr>
        <p:xfrm>
          <a:off x="3755145" y="4562618"/>
          <a:ext cx="7315200" cy="1447800"/>
        </p:xfrm>
        <a:graphic>
          <a:graphicData uri="http://schemas.openxmlformats.org/presentationml/2006/ole">
            <mc:AlternateContent xmlns:mc="http://schemas.openxmlformats.org/markup-compatibility/2006">
              <mc:Choice xmlns:v="urn:schemas-microsoft-com:vml" Requires="v">
                <p:oleObj name="iGrafx" r:id="rId2" imgW="73678320" imgH="14573160" progId="iGrafx.Document">
                  <p:embed/>
                </p:oleObj>
              </mc:Choice>
              <mc:Fallback>
                <p:oleObj name="iGrafx" r:id="rId2" imgW="73678320" imgH="14573160" progId="iGrafx.Document">
                  <p:embed/>
                  <p:pic>
                    <p:nvPicPr>
                      <p:cNvPr id="12" name="Object 11">
                        <a:extLst>
                          <a:ext uri="{FF2B5EF4-FFF2-40B4-BE49-F238E27FC236}">
                            <a16:creationId xmlns:a16="http://schemas.microsoft.com/office/drawing/2014/main" id="{1C954E44-736F-B1B7-FA4D-4402A889C0CD}"/>
                          </a:ext>
                        </a:extLst>
                      </p:cNvPr>
                      <p:cNvPicPr/>
                      <p:nvPr/>
                    </p:nvPicPr>
                    <p:blipFill>
                      <a:blip r:embed="rId3"/>
                      <a:stretch>
                        <a:fillRect/>
                      </a:stretch>
                    </p:blipFill>
                    <p:spPr>
                      <a:xfrm>
                        <a:off x="3755145" y="4562618"/>
                        <a:ext cx="7315200" cy="144780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BF59C17-6389-DC0F-889C-C807337D5729}"/>
              </a:ext>
            </a:extLst>
          </p:cNvPr>
          <p:cNvSpPr/>
          <p:nvPr/>
        </p:nvSpPr>
        <p:spPr>
          <a:xfrm>
            <a:off x="685344" y="2268735"/>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15" name="Rectangle 14">
            <a:extLst>
              <a:ext uri="{FF2B5EF4-FFF2-40B4-BE49-F238E27FC236}">
                <a16:creationId xmlns:a16="http://schemas.microsoft.com/office/drawing/2014/main" id="{F1FC5B8E-4D31-2AEA-ABEA-2936B8086B11}"/>
              </a:ext>
            </a:extLst>
          </p:cNvPr>
          <p:cNvSpPr/>
          <p:nvPr/>
        </p:nvSpPr>
        <p:spPr>
          <a:xfrm>
            <a:off x="7301610" y="4142185"/>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16" name="Text Placeholder 2">
            <a:extLst>
              <a:ext uri="{FF2B5EF4-FFF2-40B4-BE49-F238E27FC236}">
                <a16:creationId xmlns:a16="http://schemas.microsoft.com/office/drawing/2014/main" id="{BB951C3C-9901-B606-106A-6FFFDE17F9F8}"/>
              </a:ext>
            </a:extLst>
          </p:cNvPr>
          <p:cNvSpPr txBox="1">
            <a:spLocks/>
          </p:cNvSpPr>
          <p:nvPr/>
        </p:nvSpPr>
        <p:spPr>
          <a:xfrm>
            <a:off x="726440" y="1988833"/>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dirty="0"/>
              <a:t>Comparison to Current State - Sterilmed ERP Migration – Phase 0: Procure to Pay (P2P)</a:t>
            </a:r>
          </a:p>
        </p:txBody>
      </p:sp>
      <p:sp>
        <p:nvSpPr>
          <p:cNvPr id="17" name="Line Callout 1 15">
            <a:extLst>
              <a:ext uri="{FF2B5EF4-FFF2-40B4-BE49-F238E27FC236}">
                <a16:creationId xmlns:a16="http://schemas.microsoft.com/office/drawing/2014/main" id="{419F4C5F-A03E-49A9-C323-FDBFBE015EA6}"/>
              </a:ext>
            </a:extLst>
          </p:cNvPr>
          <p:cNvSpPr/>
          <p:nvPr/>
        </p:nvSpPr>
        <p:spPr bwMode="auto">
          <a:xfrm>
            <a:off x="7315200" y="2467589"/>
            <a:ext cx="5943541" cy="1447800"/>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No gaps</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Eliminate all dependencies on Great Plains and moving to standard existing processes and systems It will be like the current process for BWI US (LE 6010) where the Indirect Procurement validation is in BtB NA and the invoices from LYNX go into BtB NA. </a:t>
            </a:r>
          </a:p>
          <a:p>
            <a:pPr marL="287338" indent="-173038" defTabSz="1097280" fontAlgn="auto">
              <a:spcBef>
                <a:spcPts val="0"/>
              </a:spcBef>
              <a:spcAft>
                <a:spcPts val="0"/>
              </a:spcAft>
              <a:buFontTx/>
              <a:buChar char="-"/>
              <a:defRPr/>
            </a:pPr>
            <a:r>
              <a:rPr lang="en-US" sz="1200" kern="0" dirty="0">
                <a:solidFill>
                  <a:schemeClr val="bg1"/>
                </a:solidFill>
                <a:cs typeface="Arial" panose="020B0604020202020204" pitchFamily="34" charset="0"/>
              </a:rPr>
              <a:t>eMarketplace, Ariba, Lynx, OneASL, USROTC, BtB NA,</a:t>
            </a:r>
          </a:p>
        </p:txBody>
      </p:sp>
      <p:pic>
        <p:nvPicPr>
          <p:cNvPr id="18" name="Picture 17">
            <a:extLst>
              <a:ext uri="{FF2B5EF4-FFF2-40B4-BE49-F238E27FC236}">
                <a16:creationId xmlns:a16="http://schemas.microsoft.com/office/drawing/2014/main" id="{5D774B9F-00A1-0CDE-70A7-C456509ABD11}"/>
              </a:ext>
            </a:extLst>
          </p:cNvPr>
          <p:cNvPicPr>
            <a:picLocks noChangeAspect="1"/>
          </p:cNvPicPr>
          <p:nvPr/>
        </p:nvPicPr>
        <p:blipFill>
          <a:blip r:embed="rId4"/>
          <a:stretch>
            <a:fillRect/>
          </a:stretch>
        </p:blipFill>
        <p:spPr>
          <a:xfrm>
            <a:off x="759100" y="2683126"/>
            <a:ext cx="4068566" cy="1797762"/>
          </a:xfrm>
          <a:prstGeom prst="rect">
            <a:avLst/>
          </a:prstGeom>
        </p:spPr>
      </p:pic>
      <p:pic>
        <p:nvPicPr>
          <p:cNvPr id="26" name="Picture 25">
            <a:extLst>
              <a:ext uri="{FF2B5EF4-FFF2-40B4-BE49-F238E27FC236}">
                <a16:creationId xmlns:a16="http://schemas.microsoft.com/office/drawing/2014/main" id="{A025A8AC-6F61-65AE-99B4-67D1E9A273F1}"/>
              </a:ext>
            </a:extLst>
          </p:cNvPr>
          <p:cNvPicPr>
            <a:picLocks noChangeAspect="1"/>
          </p:cNvPicPr>
          <p:nvPr/>
        </p:nvPicPr>
        <p:blipFill>
          <a:blip r:embed="rId5"/>
          <a:stretch>
            <a:fillRect/>
          </a:stretch>
        </p:blipFill>
        <p:spPr>
          <a:xfrm flipV="1">
            <a:off x="2258102" y="4340314"/>
            <a:ext cx="4784772" cy="1210546"/>
          </a:xfrm>
          <a:prstGeom prst="rect">
            <a:avLst/>
          </a:prstGeom>
        </p:spPr>
      </p:pic>
      <p:pic>
        <p:nvPicPr>
          <p:cNvPr id="27" name="Picture 26">
            <a:extLst>
              <a:ext uri="{FF2B5EF4-FFF2-40B4-BE49-F238E27FC236}">
                <a16:creationId xmlns:a16="http://schemas.microsoft.com/office/drawing/2014/main" id="{57DDDA13-72F1-2D24-EEF4-6CB87E377414}"/>
              </a:ext>
            </a:extLst>
          </p:cNvPr>
          <p:cNvPicPr>
            <a:picLocks noChangeAspect="1"/>
          </p:cNvPicPr>
          <p:nvPr/>
        </p:nvPicPr>
        <p:blipFill>
          <a:blip r:embed="rId6"/>
          <a:stretch>
            <a:fillRect/>
          </a:stretch>
        </p:blipFill>
        <p:spPr>
          <a:xfrm>
            <a:off x="7315200" y="4648647"/>
            <a:ext cx="5801850" cy="2964504"/>
          </a:xfrm>
          <a:prstGeom prst="rect">
            <a:avLst/>
          </a:prstGeom>
        </p:spPr>
      </p:pic>
    </p:spTree>
    <p:extLst>
      <p:ext uri="{BB962C8B-B14F-4D97-AF65-F5344CB8AC3E}">
        <p14:creationId xmlns:p14="http://schemas.microsoft.com/office/powerpoint/2010/main" val="127158578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B95F9-2F1E-C6EB-3B00-CA47897A03BC}"/>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12F0C6BF-29E6-15F5-2BBB-63E38F1D6DEA}"/>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90C70790-6C47-809E-C9CA-D60C145B5DBE}"/>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79D942CA-79BB-3AA0-7958-6F5B1388DF6A}"/>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5" name="Rectangle 4">
            <a:extLst>
              <a:ext uri="{FF2B5EF4-FFF2-40B4-BE49-F238E27FC236}">
                <a16:creationId xmlns:a16="http://schemas.microsoft.com/office/drawing/2014/main" id="{C1054A6D-58F8-2864-F233-8F39EC9387F8}"/>
              </a:ext>
            </a:extLst>
          </p:cNvPr>
          <p:cNvSpPr/>
          <p:nvPr/>
        </p:nvSpPr>
        <p:spPr bwMode="auto">
          <a:xfrm>
            <a:off x="7033517" y="4534280"/>
            <a:ext cx="6564725" cy="3080875"/>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6" name="Rectangle 5">
            <a:extLst>
              <a:ext uri="{FF2B5EF4-FFF2-40B4-BE49-F238E27FC236}">
                <a16:creationId xmlns:a16="http://schemas.microsoft.com/office/drawing/2014/main" id="{386F663E-6C7C-97B3-AD65-7BE51CC78DDD}"/>
              </a:ext>
            </a:extLst>
          </p:cNvPr>
          <p:cNvSpPr/>
          <p:nvPr/>
        </p:nvSpPr>
        <p:spPr>
          <a:xfrm>
            <a:off x="587799" y="2558321"/>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7" name="Rectangle 6">
            <a:extLst>
              <a:ext uri="{FF2B5EF4-FFF2-40B4-BE49-F238E27FC236}">
                <a16:creationId xmlns:a16="http://schemas.microsoft.com/office/drawing/2014/main" id="{D6F392FD-2F71-3F0C-32A8-6D6CB07E551F}"/>
              </a:ext>
            </a:extLst>
          </p:cNvPr>
          <p:cNvSpPr/>
          <p:nvPr/>
        </p:nvSpPr>
        <p:spPr>
          <a:xfrm>
            <a:off x="6956415" y="3981585"/>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8" name="Text Placeholder 2">
            <a:extLst>
              <a:ext uri="{FF2B5EF4-FFF2-40B4-BE49-F238E27FC236}">
                <a16:creationId xmlns:a16="http://schemas.microsoft.com/office/drawing/2014/main" id="{CE8191D9-94CC-4442-0D4B-A131E5EA6502}"/>
              </a:ext>
            </a:extLst>
          </p:cNvPr>
          <p:cNvSpPr txBox="1">
            <a:spLocks/>
          </p:cNvSpPr>
          <p:nvPr/>
        </p:nvSpPr>
        <p:spPr>
          <a:xfrm>
            <a:off x="628895" y="2032273"/>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Quoting</a:t>
            </a:r>
          </a:p>
        </p:txBody>
      </p:sp>
      <p:sp>
        <p:nvSpPr>
          <p:cNvPr id="9" name="Line Callout 1 15">
            <a:extLst>
              <a:ext uri="{FF2B5EF4-FFF2-40B4-BE49-F238E27FC236}">
                <a16:creationId xmlns:a16="http://schemas.microsoft.com/office/drawing/2014/main" id="{8CEFD9C2-690E-06E6-A5C2-1CA845888E83}"/>
              </a:ext>
            </a:extLst>
          </p:cNvPr>
          <p:cNvSpPr/>
          <p:nvPr/>
        </p:nvSpPr>
        <p:spPr bwMode="auto">
          <a:xfrm>
            <a:off x="6943395" y="2491971"/>
            <a:ext cx="6456787" cy="1447800"/>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 Capability Gap filled by BWI JDE</a:t>
            </a:r>
          </a:p>
          <a:p>
            <a:pPr marL="1017551" lvl="1"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BWI JDE can send excess inventory to the Datawarehouse, and we can create a report showing excess inventory as reserved allocated quantities that can go separately only for Customers eligible to purchase excess inventory.</a:t>
            </a:r>
          </a:p>
        </p:txBody>
      </p:sp>
      <p:pic>
        <p:nvPicPr>
          <p:cNvPr id="10" name="Picture 9">
            <a:extLst>
              <a:ext uri="{FF2B5EF4-FFF2-40B4-BE49-F238E27FC236}">
                <a16:creationId xmlns:a16="http://schemas.microsoft.com/office/drawing/2014/main" id="{E8AFEA8F-EC59-6CD9-FD30-D872B5B50396}"/>
              </a:ext>
            </a:extLst>
          </p:cNvPr>
          <p:cNvPicPr>
            <a:picLocks noChangeAspect="1"/>
          </p:cNvPicPr>
          <p:nvPr/>
        </p:nvPicPr>
        <p:blipFill>
          <a:blip r:embed="rId2"/>
          <a:stretch>
            <a:fillRect/>
          </a:stretch>
        </p:blipFill>
        <p:spPr>
          <a:xfrm>
            <a:off x="1266314" y="3346460"/>
            <a:ext cx="3262000" cy="4634660"/>
          </a:xfrm>
          <a:prstGeom prst="rect">
            <a:avLst/>
          </a:prstGeom>
        </p:spPr>
      </p:pic>
      <p:pic>
        <p:nvPicPr>
          <p:cNvPr id="11" name="Picture 10">
            <a:extLst>
              <a:ext uri="{FF2B5EF4-FFF2-40B4-BE49-F238E27FC236}">
                <a16:creationId xmlns:a16="http://schemas.microsoft.com/office/drawing/2014/main" id="{224889B1-538B-667A-8F2C-ADC86502EC16}"/>
              </a:ext>
            </a:extLst>
          </p:cNvPr>
          <p:cNvPicPr>
            <a:picLocks noChangeAspect="1"/>
          </p:cNvPicPr>
          <p:nvPr/>
        </p:nvPicPr>
        <p:blipFill>
          <a:blip r:embed="rId3"/>
          <a:stretch>
            <a:fillRect/>
          </a:stretch>
        </p:blipFill>
        <p:spPr>
          <a:xfrm>
            <a:off x="7036680" y="4595382"/>
            <a:ext cx="7529004" cy="2590800"/>
          </a:xfrm>
          <a:prstGeom prst="rect">
            <a:avLst/>
          </a:prstGeom>
        </p:spPr>
      </p:pic>
    </p:spTree>
    <p:extLst>
      <p:ext uri="{BB962C8B-B14F-4D97-AF65-F5344CB8AC3E}">
        <p14:creationId xmlns:p14="http://schemas.microsoft.com/office/powerpoint/2010/main" val="38724060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B3DE2-9823-D08E-A773-778CA8B696C8}"/>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CD203F1-DF2D-B1BC-0C01-2F1DE834ABF6}"/>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47E3353C-5388-D922-6AC5-3BFC019F7E47}"/>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B1963990-A192-B6B2-CB9D-12DC425B7D20}"/>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3" name="Rectangle 2">
            <a:extLst>
              <a:ext uri="{FF2B5EF4-FFF2-40B4-BE49-F238E27FC236}">
                <a16:creationId xmlns:a16="http://schemas.microsoft.com/office/drawing/2014/main" id="{EF828F0F-5D7F-AED2-18E6-089E3EF0FEAB}"/>
              </a:ext>
            </a:extLst>
          </p:cNvPr>
          <p:cNvSpPr/>
          <p:nvPr/>
        </p:nvSpPr>
        <p:spPr bwMode="auto">
          <a:xfrm>
            <a:off x="7033517" y="4852766"/>
            <a:ext cx="6733274" cy="2482967"/>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2" name="Rectangle 11">
            <a:extLst>
              <a:ext uri="{FF2B5EF4-FFF2-40B4-BE49-F238E27FC236}">
                <a16:creationId xmlns:a16="http://schemas.microsoft.com/office/drawing/2014/main" id="{D3483331-AD61-4185-AE1C-4C8C3F272B8A}"/>
              </a:ext>
            </a:extLst>
          </p:cNvPr>
          <p:cNvSpPr/>
          <p:nvPr/>
        </p:nvSpPr>
        <p:spPr>
          <a:xfrm>
            <a:off x="587799" y="2804627"/>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14" name="Rectangle 13">
            <a:extLst>
              <a:ext uri="{FF2B5EF4-FFF2-40B4-BE49-F238E27FC236}">
                <a16:creationId xmlns:a16="http://schemas.microsoft.com/office/drawing/2014/main" id="{CF3547C6-6BA1-4762-A79A-C9BB6347457A}"/>
              </a:ext>
            </a:extLst>
          </p:cNvPr>
          <p:cNvSpPr/>
          <p:nvPr/>
        </p:nvSpPr>
        <p:spPr>
          <a:xfrm>
            <a:off x="6956415" y="4540711"/>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15" name="Text Placeholder 2">
            <a:extLst>
              <a:ext uri="{FF2B5EF4-FFF2-40B4-BE49-F238E27FC236}">
                <a16:creationId xmlns:a16="http://schemas.microsoft.com/office/drawing/2014/main" id="{B45AE756-FB57-777A-41DA-44E8FCE5900C}"/>
              </a:ext>
            </a:extLst>
          </p:cNvPr>
          <p:cNvSpPr txBox="1">
            <a:spLocks/>
          </p:cNvSpPr>
          <p:nvPr/>
        </p:nvSpPr>
        <p:spPr>
          <a:xfrm>
            <a:off x="628895" y="2362800"/>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Customer Service Order Processing</a:t>
            </a:r>
          </a:p>
        </p:txBody>
      </p:sp>
      <p:pic>
        <p:nvPicPr>
          <p:cNvPr id="16" name="Picture 15">
            <a:extLst>
              <a:ext uri="{FF2B5EF4-FFF2-40B4-BE49-F238E27FC236}">
                <a16:creationId xmlns:a16="http://schemas.microsoft.com/office/drawing/2014/main" id="{7D962CE9-78C0-ADD7-6C0E-162BF8935623}"/>
              </a:ext>
            </a:extLst>
          </p:cNvPr>
          <p:cNvPicPr>
            <a:picLocks noChangeAspect="1"/>
          </p:cNvPicPr>
          <p:nvPr/>
        </p:nvPicPr>
        <p:blipFill>
          <a:blip r:embed="rId2"/>
          <a:stretch>
            <a:fillRect/>
          </a:stretch>
        </p:blipFill>
        <p:spPr>
          <a:xfrm>
            <a:off x="628895" y="3200496"/>
            <a:ext cx="5943600" cy="2659024"/>
          </a:xfrm>
          <a:prstGeom prst="rect">
            <a:avLst/>
          </a:prstGeom>
        </p:spPr>
      </p:pic>
      <p:pic>
        <p:nvPicPr>
          <p:cNvPr id="17" name="Picture 16">
            <a:extLst>
              <a:ext uri="{FF2B5EF4-FFF2-40B4-BE49-F238E27FC236}">
                <a16:creationId xmlns:a16="http://schemas.microsoft.com/office/drawing/2014/main" id="{E5706352-DAA1-3E62-29B5-24B2FFDE1B39}"/>
              </a:ext>
            </a:extLst>
          </p:cNvPr>
          <p:cNvPicPr>
            <a:picLocks noChangeAspect="1"/>
          </p:cNvPicPr>
          <p:nvPr/>
        </p:nvPicPr>
        <p:blipFill>
          <a:blip r:embed="rId3"/>
          <a:stretch>
            <a:fillRect/>
          </a:stretch>
        </p:blipFill>
        <p:spPr>
          <a:xfrm rot="10800000" flipV="1">
            <a:off x="7033517" y="5093406"/>
            <a:ext cx="6733274" cy="1809046"/>
          </a:xfrm>
          <a:prstGeom prst="rect">
            <a:avLst/>
          </a:prstGeom>
        </p:spPr>
      </p:pic>
      <p:pic>
        <p:nvPicPr>
          <p:cNvPr id="18" name="Picture 17">
            <a:extLst>
              <a:ext uri="{FF2B5EF4-FFF2-40B4-BE49-F238E27FC236}">
                <a16:creationId xmlns:a16="http://schemas.microsoft.com/office/drawing/2014/main" id="{BA6E9CD5-F691-007A-6526-8186FCD1BBF5}"/>
              </a:ext>
            </a:extLst>
          </p:cNvPr>
          <p:cNvPicPr>
            <a:picLocks noChangeAspect="1"/>
          </p:cNvPicPr>
          <p:nvPr/>
        </p:nvPicPr>
        <p:blipFill>
          <a:blip r:embed="rId4"/>
          <a:stretch>
            <a:fillRect/>
          </a:stretch>
        </p:blipFill>
        <p:spPr>
          <a:xfrm>
            <a:off x="8358187" y="2746118"/>
            <a:ext cx="2943225" cy="2219325"/>
          </a:xfrm>
          <a:prstGeom prst="rect">
            <a:avLst/>
          </a:prstGeom>
        </p:spPr>
      </p:pic>
    </p:spTree>
    <p:extLst>
      <p:ext uri="{BB962C8B-B14F-4D97-AF65-F5344CB8AC3E}">
        <p14:creationId xmlns:p14="http://schemas.microsoft.com/office/powerpoint/2010/main" val="148308577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85807-259F-38EC-1396-F094B97488A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BA32EBC-FE3A-62BD-90E0-37A0AB3E0B86}"/>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defRPr/>
            </a:pPr>
            <a:r>
              <a:rPr lang="en-US" sz="5280" dirty="0">
                <a:solidFill>
                  <a:srgbClr val="FFFFFF"/>
                </a:solidFill>
                <a:latin typeface="Johnson Text"/>
                <a:ea typeface="+mn-ea"/>
                <a:cs typeface="+mn-cs"/>
              </a:rPr>
              <a:t>Future State Process Design</a:t>
            </a:r>
            <a:endParaRPr lang="en-US" sz="2400" dirty="0">
              <a:solidFill>
                <a:srgbClr val="564C47"/>
              </a:solidFill>
              <a:latin typeface="Johnson Text"/>
              <a:ea typeface="+mn-ea"/>
              <a:cs typeface="+mn-cs"/>
            </a:endParaRPr>
          </a:p>
          <a:p>
            <a:pPr algn="ctr" defTabSz="1097280">
              <a:spcBef>
                <a:spcPct val="0"/>
              </a:spcBef>
              <a:defRPr/>
            </a:pPr>
            <a:endParaRPr lang="en-US" sz="384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4" name="Text Placeholder 3">
            <a:extLst>
              <a:ext uri="{FF2B5EF4-FFF2-40B4-BE49-F238E27FC236}">
                <a16:creationId xmlns:a16="http://schemas.microsoft.com/office/drawing/2014/main" id="{E645FC68-3960-4159-D4A0-856E38687E64}"/>
              </a:ext>
            </a:extLst>
          </p:cNvPr>
          <p:cNvSpPr txBox="1">
            <a:spLocks/>
          </p:cNvSpPr>
          <p:nvPr/>
        </p:nvSpPr>
        <p:spPr>
          <a:xfrm>
            <a:off x="-133" y="888174"/>
            <a:ext cx="14630400" cy="461665"/>
          </a:xfrm>
          <a:prstGeom prst="rect">
            <a:avLst/>
          </a:prstGeom>
        </p:spPr>
        <p:txBody>
          <a:bodyPr/>
          <a:lst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pPr marL="0" indent="0" algn="ctr" defTabSz="1097280">
              <a:spcBef>
                <a:spcPts val="2160"/>
              </a:spcBef>
              <a:buNone/>
              <a:defRPr/>
            </a:pPr>
            <a:r>
              <a:rPr lang="en-US" sz="2400" dirty="0">
                <a:solidFill>
                  <a:srgbClr val="000000"/>
                </a:solidFill>
                <a:latin typeface="Johnson Text"/>
              </a:rPr>
              <a:t>Sterilmed ERP Migration – Tech Design Phase 0 – Mid to High Level Design</a:t>
            </a:r>
          </a:p>
        </p:txBody>
      </p:sp>
      <p:sp>
        <p:nvSpPr>
          <p:cNvPr id="13" name="Title 1">
            <a:extLst>
              <a:ext uri="{FF2B5EF4-FFF2-40B4-BE49-F238E27FC236}">
                <a16:creationId xmlns:a16="http://schemas.microsoft.com/office/drawing/2014/main" id="{7C4B81C3-BE5A-101E-1358-8DF122E38D0E}"/>
              </a:ext>
            </a:extLst>
          </p:cNvPr>
          <p:cNvSpPr>
            <a:spLocks noGrp="1"/>
          </p:cNvSpPr>
          <p:nvPr>
            <p:ph type="title"/>
          </p:nvPr>
        </p:nvSpPr>
        <p:spPr>
          <a:xfrm>
            <a:off x="345964" y="1358211"/>
            <a:ext cx="13852921" cy="630622"/>
          </a:xfrm>
        </p:spPr>
        <p:txBody>
          <a:bodyPr/>
          <a:lstStyle/>
          <a:p>
            <a:r>
              <a:rPr lang="en-US" sz="2400" dirty="0"/>
              <a:t>Preliminary Future State Design Concept Maps at Mid to High Level supporting aCAR submission to the Steering Committee – Revisit after design and test phases</a:t>
            </a:r>
          </a:p>
        </p:txBody>
      </p:sp>
      <p:sp>
        <p:nvSpPr>
          <p:cNvPr id="5" name="Rectangle 4">
            <a:extLst>
              <a:ext uri="{FF2B5EF4-FFF2-40B4-BE49-F238E27FC236}">
                <a16:creationId xmlns:a16="http://schemas.microsoft.com/office/drawing/2014/main" id="{83FF011E-C3BF-42AB-D914-5EFD3F317CB6}"/>
              </a:ext>
            </a:extLst>
          </p:cNvPr>
          <p:cNvSpPr/>
          <p:nvPr/>
        </p:nvSpPr>
        <p:spPr bwMode="auto">
          <a:xfrm>
            <a:off x="7084887" y="4648036"/>
            <a:ext cx="6564725" cy="2234308"/>
          </a:xfrm>
          <a:prstGeom prst="rect">
            <a:avLst/>
          </a:prstGeom>
          <a:solidFill>
            <a:schemeClr val="bg1"/>
          </a:solidFill>
          <a:ln w="1270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6" name="Rectangle 5">
            <a:extLst>
              <a:ext uri="{FF2B5EF4-FFF2-40B4-BE49-F238E27FC236}">
                <a16:creationId xmlns:a16="http://schemas.microsoft.com/office/drawing/2014/main" id="{A38ED387-F128-B623-82E7-C3B9B2E2AAC7}"/>
              </a:ext>
            </a:extLst>
          </p:cNvPr>
          <p:cNvSpPr/>
          <p:nvPr/>
        </p:nvSpPr>
        <p:spPr>
          <a:xfrm>
            <a:off x="587799" y="2489097"/>
            <a:ext cx="1941557"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Current State</a:t>
            </a:r>
            <a:endParaRPr lang="en-US" sz="2160" b="1" kern="0" dirty="0">
              <a:solidFill>
                <a:schemeClr val="tx2">
                  <a:lumMod val="75000"/>
                  <a:lumOff val="25000"/>
                </a:schemeClr>
              </a:solidFill>
            </a:endParaRPr>
          </a:p>
        </p:txBody>
      </p:sp>
      <p:sp>
        <p:nvSpPr>
          <p:cNvPr id="7" name="Rectangle 6">
            <a:extLst>
              <a:ext uri="{FF2B5EF4-FFF2-40B4-BE49-F238E27FC236}">
                <a16:creationId xmlns:a16="http://schemas.microsoft.com/office/drawing/2014/main" id="{62011099-78C8-A230-C1E6-05FA024A59AB}"/>
              </a:ext>
            </a:extLst>
          </p:cNvPr>
          <p:cNvSpPr/>
          <p:nvPr/>
        </p:nvSpPr>
        <p:spPr>
          <a:xfrm>
            <a:off x="6956415" y="4104865"/>
            <a:ext cx="1803699" cy="424732"/>
          </a:xfrm>
          <a:prstGeom prst="rect">
            <a:avLst/>
          </a:prstGeom>
        </p:spPr>
        <p:txBody>
          <a:bodyPr wrap="none">
            <a:spAutoFit/>
          </a:bodyPr>
          <a:lstStyle/>
          <a:p>
            <a:pPr defTabSz="1097280" fontAlgn="auto">
              <a:spcBef>
                <a:spcPts val="0"/>
              </a:spcBef>
              <a:spcAft>
                <a:spcPts val="0"/>
              </a:spcAft>
              <a:defRPr/>
            </a:pPr>
            <a:r>
              <a:rPr lang="en-US" sz="2160" b="1" kern="0" dirty="0">
                <a:solidFill>
                  <a:schemeClr val="tx2">
                    <a:lumMod val="75000"/>
                    <a:lumOff val="25000"/>
                  </a:schemeClr>
                </a:solidFill>
                <a:cs typeface="Arial" panose="020B0604020202020204" pitchFamily="34" charset="0"/>
              </a:rPr>
              <a:t>Future State</a:t>
            </a:r>
            <a:endParaRPr lang="en-US" sz="2160" b="1" kern="0" dirty="0">
              <a:solidFill>
                <a:schemeClr val="tx2">
                  <a:lumMod val="75000"/>
                  <a:lumOff val="25000"/>
                </a:schemeClr>
              </a:solidFill>
            </a:endParaRPr>
          </a:p>
        </p:txBody>
      </p:sp>
      <p:sp>
        <p:nvSpPr>
          <p:cNvPr id="8" name="Text Placeholder 2">
            <a:extLst>
              <a:ext uri="{FF2B5EF4-FFF2-40B4-BE49-F238E27FC236}">
                <a16:creationId xmlns:a16="http://schemas.microsoft.com/office/drawing/2014/main" id="{73B0CCFE-83DA-0DF1-4FD5-AB6D28B886EF}"/>
              </a:ext>
            </a:extLst>
          </p:cNvPr>
          <p:cNvSpPr txBox="1">
            <a:spLocks/>
          </p:cNvSpPr>
          <p:nvPr/>
        </p:nvSpPr>
        <p:spPr>
          <a:xfrm>
            <a:off x="628895" y="2047270"/>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a:t>Comparison to Current State - Sterilmed ERP Migration – Phase 0: Canada Orders</a:t>
            </a:r>
          </a:p>
        </p:txBody>
      </p:sp>
      <p:pic>
        <p:nvPicPr>
          <p:cNvPr id="9" name="Picture 8">
            <a:extLst>
              <a:ext uri="{FF2B5EF4-FFF2-40B4-BE49-F238E27FC236}">
                <a16:creationId xmlns:a16="http://schemas.microsoft.com/office/drawing/2014/main" id="{D5D9BC3C-D121-6BCE-F991-3AB3289E27B2}"/>
              </a:ext>
            </a:extLst>
          </p:cNvPr>
          <p:cNvPicPr>
            <a:picLocks noChangeAspect="1"/>
          </p:cNvPicPr>
          <p:nvPr/>
        </p:nvPicPr>
        <p:blipFill>
          <a:blip r:embed="rId2"/>
          <a:stretch>
            <a:fillRect/>
          </a:stretch>
        </p:blipFill>
        <p:spPr>
          <a:xfrm>
            <a:off x="546667" y="2887938"/>
            <a:ext cx="5996432" cy="2325642"/>
          </a:xfrm>
          <a:prstGeom prst="rect">
            <a:avLst/>
          </a:prstGeom>
        </p:spPr>
      </p:pic>
      <p:pic>
        <p:nvPicPr>
          <p:cNvPr id="10" name="Picture 9">
            <a:extLst>
              <a:ext uri="{FF2B5EF4-FFF2-40B4-BE49-F238E27FC236}">
                <a16:creationId xmlns:a16="http://schemas.microsoft.com/office/drawing/2014/main" id="{D573FD00-A7FF-7562-6DA3-34324D75D601}"/>
              </a:ext>
            </a:extLst>
          </p:cNvPr>
          <p:cNvPicPr>
            <a:picLocks noChangeAspect="1"/>
          </p:cNvPicPr>
          <p:nvPr/>
        </p:nvPicPr>
        <p:blipFill>
          <a:blip r:embed="rId3"/>
          <a:stretch>
            <a:fillRect/>
          </a:stretch>
        </p:blipFill>
        <p:spPr>
          <a:xfrm>
            <a:off x="546667" y="5434113"/>
            <a:ext cx="5905500" cy="2360526"/>
          </a:xfrm>
          <a:prstGeom prst="rect">
            <a:avLst/>
          </a:prstGeom>
        </p:spPr>
      </p:pic>
      <p:sp>
        <p:nvSpPr>
          <p:cNvPr id="11" name="Line Callout 1 15">
            <a:extLst>
              <a:ext uri="{FF2B5EF4-FFF2-40B4-BE49-F238E27FC236}">
                <a16:creationId xmlns:a16="http://schemas.microsoft.com/office/drawing/2014/main" id="{2FB44982-56CB-7B97-854A-1C1D200D2E6E}"/>
              </a:ext>
            </a:extLst>
          </p:cNvPr>
          <p:cNvSpPr/>
          <p:nvPr/>
        </p:nvSpPr>
        <p:spPr bwMode="auto">
          <a:xfrm>
            <a:off x="6907299" y="2651347"/>
            <a:ext cx="6456787" cy="1447800"/>
          </a:xfrm>
          <a:prstGeom prst="borderCallout1">
            <a:avLst>
              <a:gd name="adj1" fmla="val 106074"/>
              <a:gd name="adj2" fmla="val 47296"/>
              <a:gd name="adj3" fmla="val 168437"/>
              <a:gd name="adj4" fmla="val 41052"/>
            </a:avLst>
          </a:prstGeom>
          <a:solidFill>
            <a:srgbClr val="2C8447"/>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1097280" fontAlgn="auto">
              <a:spcBef>
                <a:spcPts val="0"/>
              </a:spcBef>
              <a:spcAft>
                <a:spcPts val="600"/>
              </a:spcAft>
              <a:defRPr/>
            </a:pPr>
            <a:r>
              <a:rPr lang="en-US" sz="1200" b="1" u="sng" kern="0" dirty="0">
                <a:solidFill>
                  <a:schemeClr val="bg1"/>
                </a:solidFill>
                <a:latin typeface="Arial" panose="020B0604020202020204" pitchFamily="34" charset="0"/>
                <a:cs typeface="Arial" panose="020B0604020202020204" pitchFamily="34" charset="0"/>
              </a:rPr>
              <a:t>Key Efficiencies Gaine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Reduce Complexity by giving the 2 customers a date in which they need to be transitioned to “Open loop” by, then we’ll be shutting down closed loop. It doesn’t make sense to custom build functionality in the new “system” to support closed loop for just two customers. We have no intent to expand that list of customers as well so logically we need to leave it behind.</a:t>
            </a:r>
          </a:p>
          <a:p>
            <a:pPr marL="287338" indent="-173038" defTabSz="1097280" fontAlgn="auto">
              <a:spcBef>
                <a:spcPts val="0"/>
              </a:spcBef>
              <a:spcAft>
                <a:spcPts val="0"/>
              </a:spcAft>
              <a:buFontTx/>
              <a:buChar char="-"/>
              <a:defRPr/>
            </a:pPr>
            <a:r>
              <a:rPr lang="en-US" sz="1200" kern="0" dirty="0">
                <a:solidFill>
                  <a:schemeClr val="bg1"/>
                </a:solidFill>
                <a:latin typeface="Arial" panose="020B0604020202020204" pitchFamily="34" charset="0"/>
                <a:cs typeface="Arial" panose="020B0604020202020204" pitchFamily="34" charset="0"/>
              </a:rPr>
              <a:t>Eliminate Closed loop filters in USROTC</a:t>
            </a:r>
          </a:p>
        </p:txBody>
      </p:sp>
      <p:pic>
        <p:nvPicPr>
          <p:cNvPr id="19" name="Picture 18">
            <a:extLst>
              <a:ext uri="{FF2B5EF4-FFF2-40B4-BE49-F238E27FC236}">
                <a16:creationId xmlns:a16="http://schemas.microsoft.com/office/drawing/2014/main" id="{3B72A2F0-E158-C5C4-F4F8-37F19577BD22}"/>
              </a:ext>
            </a:extLst>
          </p:cNvPr>
          <p:cNvPicPr>
            <a:picLocks noChangeAspect="1"/>
          </p:cNvPicPr>
          <p:nvPr/>
        </p:nvPicPr>
        <p:blipFill>
          <a:blip r:embed="rId4"/>
          <a:stretch>
            <a:fillRect/>
          </a:stretch>
        </p:blipFill>
        <p:spPr>
          <a:xfrm>
            <a:off x="7196951" y="4529597"/>
            <a:ext cx="5762996" cy="2352746"/>
          </a:xfrm>
          <a:prstGeom prst="rect">
            <a:avLst/>
          </a:prstGeom>
        </p:spPr>
      </p:pic>
      <p:pic>
        <p:nvPicPr>
          <p:cNvPr id="20" name="Picture 19">
            <a:extLst>
              <a:ext uri="{FF2B5EF4-FFF2-40B4-BE49-F238E27FC236}">
                <a16:creationId xmlns:a16="http://schemas.microsoft.com/office/drawing/2014/main" id="{CB65826C-B8C9-94DE-C7B9-48660278E2EC}"/>
              </a:ext>
            </a:extLst>
          </p:cNvPr>
          <p:cNvPicPr>
            <a:picLocks noChangeAspect="1"/>
          </p:cNvPicPr>
          <p:nvPr/>
        </p:nvPicPr>
        <p:blipFill>
          <a:blip r:embed="rId5"/>
          <a:stretch>
            <a:fillRect/>
          </a:stretch>
        </p:blipFill>
        <p:spPr>
          <a:xfrm rot="10800000" flipH="1" flipV="1">
            <a:off x="7196951" y="6882343"/>
            <a:ext cx="4305300" cy="1084968"/>
          </a:xfrm>
          <a:prstGeom prst="rect">
            <a:avLst/>
          </a:prstGeom>
        </p:spPr>
      </p:pic>
    </p:spTree>
    <p:extLst>
      <p:ext uri="{BB962C8B-B14F-4D97-AF65-F5344CB8AC3E}">
        <p14:creationId xmlns:p14="http://schemas.microsoft.com/office/powerpoint/2010/main" val="147867743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BA2FF-6BAC-8BDE-22FC-CB25DC3F7F1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6097C30-BD20-EFED-45C8-6D50FAB311B2}"/>
              </a:ext>
            </a:extLst>
          </p:cNvPr>
          <p:cNvSpPr>
            <a:spLocks noGrp="1"/>
          </p:cNvSpPr>
          <p:nvPr>
            <p:ph type="body" sz="quarter" idx="10"/>
          </p:nvPr>
        </p:nvSpPr>
        <p:spPr>
          <a:xfrm>
            <a:off x="1589470" y="2006856"/>
            <a:ext cx="3468306" cy="2912079"/>
          </a:xfrm>
        </p:spPr>
        <p:txBody>
          <a:bodyPr/>
          <a:lstStyle/>
          <a:p>
            <a:endParaRPr lang="en-US" sz="2000" dirty="0"/>
          </a:p>
          <a:p>
            <a:r>
              <a:rPr lang="en-US" sz="2000" dirty="0"/>
              <a:t>All CPI Files</a:t>
            </a:r>
          </a:p>
          <a:p>
            <a:endParaRPr lang="en-US" sz="2000" dirty="0"/>
          </a:p>
          <a:p>
            <a:r>
              <a:rPr lang="en-US" sz="2000" dirty="0">
                <a:hlinkClick r:id="rId2"/>
              </a:rPr>
              <a:t>Sterilmed SharePoint</a:t>
            </a:r>
            <a:endParaRPr lang="en-US" sz="2000" dirty="0"/>
          </a:p>
          <a:p>
            <a:endParaRPr lang="en-US" sz="2000" dirty="0"/>
          </a:p>
          <a:p>
            <a:r>
              <a:rPr lang="en-US" sz="2000" dirty="0">
                <a:hlinkClick r:id="rId3"/>
              </a:rPr>
              <a:t>CPI SharePoint</a:t>
            </a:r>
            <a:endParaRPr lang="en-US" sz="2000" dirty="0"/>
          </a:p>
        </p:txBody>
      </p:sp>
      <p:sp>
        <p:nvSpPr>
          <p:cNvPr id="14" name="Slide Number Placeholder 4">
            <a:extLst>
              <a:ext uri="{FF2B5EF4-FFF2-40B4-BE49-F238E27FC236}">
                <a16:creationId xmlns:a16="http://schemas.microsoft.com/office/drawing/2014/main" id="{5D77E85E-A7AC-A402-8F3F-E97498607E62}"/>
              </a:ext>
            </a:extLst>
          </p:cNvPr>
          <p:cNvSpPr>
            <a:spLocks noGrp="1"/>
          </p:cNvSpPr>
          <p:nvPr>
            <p:ph type="sldNum" sz="quarter" idx="4"/>
          </p:nvPr>
        </p:nvSpPr>
        <p:spPr/>
        <p:txBody>
          <a:bodyPr/>
          <a:lstStyle/>
          <a:p>
            <a:fld id="{AD816501-AAE5-214E-B100-00C3DC5F5E3F}" type="slidenum">
              <a:rPr lang="en-US" smtClean="0"/>
              <a:pPr/>
              <a:t>35</a:t>
            </a:fld>
            <a:endParaRPr lang="en-US" dirty="0"/>
          </a:p>
        </p:txBody>
      </p:sp>
      <p:sp>
        <p:nvSpPr>
          <p:cNvPr id="2" name="Title 1">
            <a:extLst>
              <a:ext uri="{FF2B5EF4-FFF2-40B4-BE49-F238E27FC236}">
                <a16:creationId xmlns:a16="http://schemas.microsoft.com/office/drawing/2014/main" id="{E5889158-7851-68BE-40C4-B67DFFDD700A}"/>
              </a:ext>
            </a:extLst>
          </p:cNvPr>
          <p:cNvSpPr>
            <a:spLocks noGrp="1"/>
          </p:cNvSpPr>
          <p:nvPr>
            <p:ph type="title"/>
          </p:nvPr>
        </p:nvSpPr>
        <p:spPr>
          <a:xfrm>
            <a:off x="849399" y="725687"/>
            <a:ext cx="6568544" cy="549382"/>
          </a:xfrm>
        </p:spPr>
        <p:txBody>
          <a:bodyPr/>
          <a:lstStyle/>
          <a:p>
            <a:r>
              <a:rPr lang="en-US" dirty="0"/>
              <a:t>Questions?</a:t>
            </a:r>
          </a:p>
        </p:txBody>
      </p:sp>
    </p:spTree>
    <p:extLst>
      <p:ext uri="{BB962C8B-B14F-4D97-AF65-F5344CB8AC3E}">
        <p14:creationId xmlns:p14="http://schemas.microsoft.com/office/powerpoint/2010/main" val="4587933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00FF24-7407-2FE1-0BF8-24B819549274}"/>
              </a:ext>
            </a:extLst>
          </p:cNvPr>
          <p:cNvSpPr>
            <a:spLocks noGrp="1"/>
          </p:cNvSpPr>
          <p:nvPr>
            <p:ph type="body" sz="quarter" idx="10"/>
          </p:nvPr>
        </p:nvSpPr>
        <p:spPr>
          <a:xfrm>
            <a:off x="726440" y="977650"/>
            <a:ext cx="13177520" cy="461665"/>
          </a:xfrm>
        </p:spPr>
        <p:txBody>
          <a:bodyPr/>
          <a:lstStyle/>
          <a:p>
            <a:r>
              <a:rPr lang="en-SG" dirty="0"/>
              <a:t>Sterilmed ERP Migration – Phase 0</a:t>
            </a:r>
          </a:p>
        </p:txBody>
      </p:sp>
      <p:sp>
        <p:nvSpPr>
          <p:cNvPr id="5" name="Slide Number Placeholder 4">
            <a:extLst>
              <a:ext uri="{FF2B5EF4-FFF2-40B4-BE49-F238E27FC236}">
                <a16:creationId xmlns:a16="http://schemas.microsoft.com/office/drawing/2014/main" id="{D879AB15-4917-3F64-D811-24643712DF29}"/>
              </a:ext>
            </a:extLst>
          </p:cNvPr>
          <p:cNvSpPr>
            <a:spLocks noGrp="1"/>
          </p:cNvSpPr>
          <p:nvPr>
            <p:ph type="sldNum" sz="quarter" idx="4"/>
          </p:nvPr>
        </p:nvSpPr>
        <p:spPr>
          <a:xfrm>
            <a:off x="13882143" y="9027481"/>
            <a:ext cx="455614" cy="400050"/>
          </a:xfrm>
        </p:spPr>
        <p:txBody>
          <a:bodyPr/>
          <a:lstStyle/>
          <a:p>
            <a:pPr defTabSz="1097280" fontAlgn="auto">
              <a:spcBef>
                <a:spcPts val="0"/>
              </a:spcBef>
              <a:spcAft>
                <a:spcPts val="0"/>
              </a:spcAft>
            </a:pPr>
            <a:fld id="{AD816501-AAE5-214E-B100-00C3DC5F5E3F}" type="slidenum">
              <a:rPr lang="en-US">
                <a:latin typeface="Arial"/>
              </a:rPr>
              <a:pPr defTabSz="1097280" fontAlgn="auto">
                <a:spcBef>
                  <a:spcPts val="0"/>
                </a:spcBef>
                <a:spcAft>
                  <a:spcPts val="0"/>
                </a:spcAft>
              </a:pPr>
              <a:t>4</a:t>
            </a:fld>
            <a:endParaRPr lang="en-US" dirty="0">
              <a:latin typeface="Arial"/>
            </a:endParaRPr>
          </a:p>
        </p:txBody>
      </p:sp>
      <p:sp>
        <p:nvSpPr>
          <p:cNvPr id="6" name="Title 5">
            <a:extLst>
              <a:ext uri="{FF2B5EF4-FFF2-40B4-BE49-F238E27FC236}">
                <a16:creationId xmlns:a16="http://schemas.microsoft.com/office/drawing/2014/main" id="{60A78DCF-6E62-1096-1821-FEFAF844143D}"/>
              </a:ext>
            </a:extLst>
          </p:cNvPr>
          <p:cNvSpPr>
            <a:spLocks noGrp="1"/>
          </p:cNvSpPr>
          <p:nvPr>
            <p:ph type="title"/>
          </p:nvPr>
        </p:nvSpPr>
        <p:spPr>
          <a:xfrm>
            <a:off x="726438" y="296842"/>
            <a:ext cx="12174912" cy="692497"/>
          </a:xfrm>
        </p:spPr>
        <p:txBody>
          <a:bodyPr/>
          <a:lstStyle/>
          <a:p>
            <a:r>
              <a:rPr lang="en-SG" dirty="0"/>
              <a:t>CPI Scope of Work</a:t>
            </a:r>
          </a:p>
        </p:txBody>
      </p:sp>
      <p:sp>
        <p:nvSpPr>
          <p:cNvPr id="7" name="Rectangle: Rounded Corners 6">
            <a:extLst>
              <a:ext uri="{FF2B5EF4-FFF2-40B4-BE49-F238E27FC236}">
                <a16:creationId xmlns:a16="http://schemas.microsoft.com/office/drawing/2014/main" id="{646E1454-13F0-A100-6F9D-CEDA362B55F7}"/>
              </a:ext>
            </a:extLst>
          </p:cNvPr>
          <p:cNvSpPr/>
          <p:nvPr/>
        </p:nvSpPr>
        <p:spPr>
          <a:xfrm>
            <a:off x="726439" y="3547074"/>
            <a:ext cx="3962171" cy="3974431"/>
          </a:xfrm>
          <a:prstGeom prst="roundRect">
            <a:avLst>
              <a:gd name="adj" fmla="val 2666"/>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fontAlgn="auto">
              <a:spcBef>
                <a:spcPts val="0"/>
              </a:spcBef>
              <a:spcAft>
                <a:spcPts val="0"/>
              </a:spcAft>
            </a:pPr>
            <a:r>
              <a:rPr kumimoji="1" lang="en-US" sz="1920" i="1" dirty="0">
                <a:solidFill>
                  <a:srgbClr val="212121"/>
                </a:solidFill>
                <a:latin typeface="Arial"/>
              </a:rPr>
              <a:t>OTC &amp; P2P*</a:t>
            </a:r>
          </a:p>
          <a:p>
            <a:pPr algn="ctr" defTabSz="1097280" fontAlgn="auto">
              <a:spcBef>
                <a:spcPts val="0"/>
              </a:spcBef>
              <a:spcAft>
                <a:spcPts val="0"/>
              </a:spcAft>
            </a:pPr>
            <a:endParaRPr kumimoji="1" lang="en-US" sz="1920" i="1" dirty="0">
              <a:solidFill>
                <a:srgbClr val="212121"/>
              </a:solidFill>
              <a:latin typeface="Arial"/>
            </a:endParaRPr>
          </a:p>
          <a:p>
            <a:pPr algn="ctr" defTabSz="1097280" fontAlgn="auto">
              <a:spcBef>
                <a:spcPts val="0"/>
              </a:spcBef>
              <a:spcAft>
                <a:spcPts val="0"/>
              </a:spcAft>
            </a:pPr>
            <a:r>
              <a:rPr kumimoji="1" lang="en-US" sz="1920" i="1" dirty="0">
                <a:solidFill>
                  <a:srgbClr val="212121"/>
                </a:solidFill>
                <a:latin typeface="Arial"/>
              </a:rPr>
              <a:t>E2E business process flow mapping at high to mid-level detail required for Phase 0</a:t>
            </a:r>
          </a:p>
          <a:p>
            <a:pPr algn="ctr" defTabSz="1097280" fontAlgn="auto">
              <a:spcBef>
                <a:spcPts val="0"/>
              </a:spcBef>
              <a:spcAft>
                <a:spcPts val="0"/>
              </a:spcAft>
            </a:pPr>
            <a:endParaRPr kumimoji="1" lang="en-US" sz="1920" i="1" dirty="0">
              <a:solidFill>
                <a:srgbClr val="212121"/>
              </a:solidFill>
              <a:latin typeface="Arial"/>
            </a:endParaRPr>
          </a:p>
          <a:p>
            <a:pPr algn="ctr" defTabSz="1097280" fontAlgn="auto">
              <a:spcBef>
                <a:spcPts val="0"/>
              </a:spcBef>
              <a:spcAft>
                <a:spcPts val="0"/>
              </a:spcAft>
            </a:pPr>
            <a:r>
              <a:rPr kumimoji="1" lang="en-US" sz="1920" i="1" dirty="0">
                <a:solidFill>
                  <a:srgbClr val="212121"/>
                </a:solidFill>
                <a:latin typeface="Arial"/>
              </a:rPr>
              <a:t>Visibility into key process activities, workflow and actors</a:t>
            </a:r>
          </a:p>
          <a:p>
            <a:pPr algn="ctr" defTabSz="1097280" fontAlgn="auto">
              <a:spcBef>
                <a:spcPts val="0"/>
              </a:spcBef>
              <a:spcAft>
                <a:spcPts val="0"/>
              </a:spcAft>
            </a:pPr>
            <a:endParaRPr kumimoji="1" lang="en-US" sz="1920" i="1" dirty="0">
              <a:solidFill>
                <a:srgbClr val="212121"/>
              </a:solidFill>
              <a:latin typeface="Arial"/>
            </a:endParaRPr>
          </a:p>
          <a:p>
            <a:pPr algn="ctr" defTabSz="1097280" fontAlgn="auto">
              <a:spcBef>
                <a:spcPts val="0"/>
              </a:spcBef>
              <a:spcAft>
                <a:spcPts val="0"/>
              </a:spcAft>
            </a:pPr>
            <a:r>
              <a:rPr kumimoji="1" lang="en-US" sz="1920" i="1" dirty="0">
                <a:solidFill>
                  <a:srgbClr val="212121"/>
                </a:solidFill>
                <a:latin typeface="Arial"/>
              </a:rPr>
              <a:t>Identification of efficiency, effectiveness and automation opportunities</a:t>
            </a:r>
          </a:p>
        </p:txBody>
      </p:sp>
      <p:sp>
        <p:nvSpPr>
          <p:cNvPr id="8" name="TextBox 7">
            <a:extLst>
              <a:ext uri="{FF2B5EF4-FFF2-40B4-BE49-F238E27FC236}">
                <a16:creationId xmlns:a16="http://schemas.microsoft.com/office/drawing/2014/main" id="{B211208F-675E-8BD0-CCF0-942160112B0E}"/>
              </a:ext>
            </a:extLst>
          </p:cNvPr>
          <p:cNvSpPr txBox="1"/>
          <p:nvPr/>
        </p:nvSpPr>
        <p:spPr>
          <a:xfrm>
            <a:off x="726441" y="3374780"/>
            <a:ext cx="3962168" cy="378012"/>
          </a:xfrm>
          <a:prstGeom prst="round2SameRect">
            <a:avLst>
              <a:gd name="adj1" fmla="val 26038"/>
              <a:gd name="adj2" fmla="val 0"/>
            </a:avLst>
          </a:prstGeom>
          <a:solidFill>
            <a:schemeClr val="accent1"/>
          </a:solidFill>
          <a:ln>
            <a:solidFill>
              <a:schemeClr val="accent1"/>
            </a:solidFill>
          </a:ln>
        </p:spPr>
        <p:txBody>
          <a:bodyPr wrap="square" anchor="ctr">
            <a:spAutoFit/>
          </a:bodyPr>
          <a:lstStyle/>
          <a:p>
            <a:pPr algn="ctr" defTabSz="1097280" fontAlgn="auto">
              <a:spcBef>
                <a:spcPts val="0"/>
              </a:spcBef>
              <a:spcAft>
                <a:spcPts val="0"/>
              </a:spcAft>
              <a:buClr>
                <a:srgbClr val="000000"/>
              </a:buClr>
              <a:buSzPct val="100000"/>
              <a:defRPr/>
            </a:pPr>
            <a:r>
              <a:rPr kumimoji="1" lang="en-US" sz="1680" b="1" dirty="0">
                <a:solidFill>
                  <a:srgbClr val="FFFFFF"/>
                </a:solidFill>
                <a:latin typeface="Arial"/>
              </a:rPr>
              <a:t>Processes</a:t>
            </a:r>
          </a:p>
        </p:txBody>
      </p:sp>
      <p:sp>
        <p:nvSpPr>
          <p:cNvPr id="9" name="Rectangle: Rounded Corners 8">
            <a:extLst>
              <a:ext uri="{FF2B5EF4-FFF2-40B4-BE49-F238E27FC236}">
                <a16:creationId xmlns:a16="http://schemas.microsoft.com/office/drawing/2014/main" id="{FE840E37-27D8-D611-1A17-59C840AD521C}"/>
              </a:ext>
            </a:extLst>
          </p:cNvPr>
          <p:cNvSpPr/>
          <p:nvPr/>
        </p:nvSpPr>
        <p:spPr>
          <a:xfrm>
            <a:off x="5334116" y="3450933"/>
            <a:ext cx="3962168" cy="4085257"/>
          </a:xfrm>
          <a:prstGeom prst="roundRect">
            <a:avLst>
              <a:gd name="adj" fmla="val 2666"/>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fontAlgn="auto">
              <a:spcBef>
                <a:spcPts val="0"/>
              </a:spcBef>
              <a:spcAft>
                <a:spcPts val="0"/>
              </a:spcAft>
            </a:pPr>
            <a:r>
              <a:rPr kumimoji="1" lang="en-SG" sz="2160" i="1" dirty="0">
                <a:solidFill>
                  <a:srgbClr val="212121"/>
                </a:solidFill>
                <a:latin typeface="Arial"/>
              </a:rPr>
              <a:t>Map systems landscape supporting business processes</a:t>
            </a:r>
          </a:p>
          <a:p>
            <a:pPr algn="ctr" defTabSz="1097280" fontAlgn="auto">
              <a:spcBef>
                <a:spcPts val="0"/>
              </a:spcBef>
              <a:spcAft>
                <a:spcPts val="0"/>
              </a:spcAft>
            </a:pPr>
            <a:endParaRPr kumimoji="1" lang="en-SG" sz="2160" i="1" dirty="0">
              <a:solidFill>
                <a:srgbClr val="212121"/>
              </a:solidFill>
              <a:latin typeface="Arial"/>
            </a:endParaRPr>
          </a:p>
          <a:p>
            <a:pPr algn="ctr" defTabSz="1097280" fontAlgn="auto">
              <a:spcBef>
                <a:spcPts val="0"/>
              </a:spcBef>
              <a:spcAft>
                <a:spcPts val="0"/>
              </a:spcAft>
            </a:pPr>
            <a:r>
              <a:rPr kumimoji="1" lang="en-SG" sz="2160" i="1" dirty="0">
                <a:solidFill>
                  <a:srgbClr val="212121"/>
                </a:solidFill>
                <a:latin typeface="Arial"/>
              </a:rPr>
              <a:t>Identification of manual, systems supported and automated process steps</a:t>
            </a:r>
          </a:p>
        </p:txBody>
      </p:sp>
      <p:sp>
        <p:nvSpPr>
          <p:cNvPr id="10" name="Rectangle: Rounded Corners 9">
            <a:extLst>
              <a:ext uri="{FF2B5EF4-FFF2-40B4-BE49-F238E27FC236}">
                <a16:creationId xmlns:a16="http://schemas.microsoft.com/office/drawing/2014/main" id="{5C0F1FDF-5974-265D-1880-F4D034241A62}"/>
              </a:ext>
            </a:extLst>
          </p:cNvPr>
          <p:cNvSpPr/>
          <p:nvPr/>
        </p:nvSpPr>
        <p:spPr>
          <a:xfrm>
            <a:off x="10033579" y="3368894"/>
            <a:ext cx="3962168" cy="4149738"/>
          </a:xfrm>
          <a:prstGeom prst="roundRect">
            <a:avLst>
              <a:gd name="adj" fmla="val 2666"/>
            </a:avLst>
          </a:prstGeom>
          <a:solidFill>
            <a:schemeClr val="bg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fontAlgn="auto">
              <a:spcBef>
                <a:spcPts val="0"/>
              </a:spcBef>
              <a:spcAft>
                <a:spcPts val="0"/>
              </a:spcAft>
            </a:pPr>
            <a:r>
              <a:rPr kumimoji="1" lang="en-US" sz="2160" i="1" dirty="0">
                <a:solidFill>
                  <a:srgbClr val="212121"/>
                </a:solidFill>
                <a:latin typeface="Arial"/>
              </a:rPr>
              <a:t>Fit gap analysis </a:t>
            </a:r>
          </a:p>
          <a:p>
            <a:pPr algn="ctr" defTabSz="1097280" fontAlgn="auto">
              <a:spcBef>
                <a:spcPts val="0"/>
              </a:spcBef>
              <a:spcAft>
                <a:spcPts val="0"/>
              </a:spcAft>
            </a:pPr>
            <a:endParaRPr kumimoji="1" lang="en-US" sz="2160" i="1" dirty="0">
              <a:solidFill>
                <a:srgbClr val="212121"/>
              </a:solidFill>
              <a:latin typeface="Arial"/>
            </a:endParaRPr>
          </a:p>
          <a:p>
            <a:pPr algn="ctr" defTabSz="1097280" fontAlgn="auto">
              <a:spcBef>
                <a:spcPts val="0"/>
              </a:spcBef>
              <a:spcAft>
                <a:spcPts val="0"/>
              </a:spcAft>
            </a:pPr>
            <a:r>
              <a:rPr kumimoji="1" lang="en-US" sz="2160" i="1" dirty="0">
                <a:solidFill>
                  <a:srgbClr val="212121"/>
                </a:solidFill>
                <a:latin typeface="Arial"/>
              </a:rPr>
              <a:t>Design process changes to accommodate USROTC processes</a:t>
            </a:r>
          </a:p>
          <a:p>
            <a:pPr algn="ctr" defTabSz="1097280" fontAlgn="auto">
              <a:spcBef>
                <a:spcPts val="0"/>
              </a:spcBef>
              <a:spcAft>
                <a:spcPts val="0"/>
              </a:spcAft>
            </a:pPr>
            <a:endParaRPr kumimoji="1" lang="en-US" sz="2160" b="1" i="1" dirty="0">
              <a:solidFill>
                <a:srgbClr val="212121"/>
              </a:solidFill>
              <a:latin typeface="Arial"/>
            </a:endParaRPr>
          </a:p>
          <a:p>
            <a:pPr algn="ctr" defTabSz="1097280" fontAlgn="auto">
              <a:spcBef>
                <a:spcPts val="0"/>
              </a:spcBef>
              <a:spcAft>
                <a:spcPts val="0"/>
              </a:spcAft>
            </a:pPr>
            <a:r>
              <a:rPr kumimoji="1" lang="en-US" sz="2160" i="1" dirty="0">
                <a:solidFill>
                  <a:srgbClr val="212121"/>
                </a:solidFill>
                <a:latin typeface="Arial"/>
              </a:rPr>
              <a:t>Quantification of anticipated efficiency or effectiveness business impacts</a:t>
            </a:r>
          </a:p>
        </p:txBody>
      </p:sp>
      <p:sp>
        <p:nvSpPr>
          <p:cNvPr id="11" name="TextBox 10">
            <a:extLst>
              <a:ext uri="{FF2B5EF4-FFF2-40B4-BE49-F238E27FC236}">
                <a16:creationId xmlns:a16="http://schemas.microsoft.com/office/drawing/2014/main" id="{9C0422EF-D93D-31FA-A35E-4891A4A01277}"/>
              </a:ext>
            </a:extLst>
          </p:cNvPr>
          <p:cNvSpPr txBox="1"/>
          <p:nvPr/>
        </p:nvSpPr>
        <p:spPr>
          <a:xfrm>
            <a:off x="5333984" y="3374780"/>
            <a:ext cx="3962168" cy="378012"/>
          </a:xfrm>
          <a:prstGeom prst="round2SameRect">
            <a:avLst>
              <a:gd name="adj1" fmla="val 26038"/>
              <a:gd name="adj2" fmla="val 0"/>
            </a:avLst>
          </a:prstGeom>
          <a:solidFill>
            <a:schemeClr val="accent2"/>
          </a:solidFill>
          <a:ln>
            <a:solidFill>
              <a:schemeClr val="accent2"/>
            </a:solidFill>
          </a:ln>
        </p:spPr>
        <p:txBody>
          <a:bodyPr wrap="square" anchor="ctr">
            <a:spAutoFit/>
          </a:bodyPr>
          <a:lstStyle/>
          <a:p>
            <a:pPr algn="ctr" defTabSz="1097280" fontAlgn="auto">
              <a:spcBef>
                <a:spcPts val="0"/>
              </a:spcBef>
              <a:spcAft>
                <a:spcPts val="0"/>
              </a:spcAft>
              <a:buClr>
                <a:srgbClr val="000000"/>
              </a:buClr>
              <a:buSzPct val="100000"/>
              <a:defRPr/>
            </a:pPr>
            <a:r>
              <a:rPr kumimoji="1" lang="en-US" sz="1680" b="1" dirty="0">
                <a:solidFill>
                  <a:srgbClr val="FFFFFF"/>
                </a:solidFill>
                <a:latin typeface="Arial"/>
              </a:rPr>
              <a:t>Systems</a:t>
            </a:r>
          </a:p>
        </p:txBody>
      </p:sp>
      <p:sp>
        <p:nvSpPr>
          <p:cNvPr id="12" name="TextBox 11">
            <a:extLst>
              <a:ext uri="{FF2B5EF4-FFF2-40B4-BE49-F238E27FC236}">
                <a16:creationId xmlns:a16="http://schemas.microsoft.com/office/drawing/2014/main" id="{B5F71635-683B-6BA1-5A49-7412D947C908}"/>
              </a:ext>
            </a:extLst>
          </p:cNvPr>
          <p:cNvSpPr txBox="1"/>
          <p:nvPr/>
        </p:nvSpPr>
        <p:spPr>
          <a:xfrm>
            <a:off x="10033447" y="3378841"/>
            <a:ext cx="3962168" cy="378012"/>
          </a:xfrm>
          <a:prstGeom prst="round2SameRect">
            <a:avLst>
              <a:gd name="adj1" fmla="val 26038"/>
              <a:gd name="adj2" fmla="val 0"/>
            </a:avLst>
          </a:prstGeom>
          <a:solidFill>
            <a:schemeClr val="accent3"/>
          </a:solidFill>
          <a:ln>
            <a:noFill/>
          </a:ln>
        </p:spPr>
        <p:txBody>
          <a:bodyPr wrap="square" anchor="ctr">
            <a:spAutoFit/>
          </a:bodyPr>
          <a:lstStyle/>
          <a:p>
            <a:pPr algn="ctr" defTabSz="1097280" fontAlgn="auto">
              <a:spcBef>
                <a:spcPts val="0"/>
              </a:spcBef>
              <a:spcAft>
                <a:spcPts val="0"/>
              </a:spcAft>
              <a:buClr>
                <a:srgbClr val="000000"/>
              </a:buClr>
              <a:buSzPct val="100000"/>
              <a:defRPr/>
            </a:pPr>
            <a:r>
              <a:rPr kumimoji="1" lang="en-US" sz="1680" b="1" dirty="0">
                <a:solidFill>
                  <a:srgbClr val="FFFFFF"/>
                </a:solidFill>
                <a:latin typeface="Arial"/>
              </a:rPr>
              <a:t>Future State</a:t>
            </a:r>
          </a:p>
        </p:txBody>
      </p:sp>
      <p:sp>
        <p:nvSpPr>
          <p:cNvPr id="2" name="TextBox 1">
            <a:extLst>
              <a:ext uri="{FF2B5EF4-FFF2-40B4-BE49-F238E27FC236}">
                <a16:creationId xmlns:a16="http://schemas.microsoft.com/office/drawing/2014/main" id="{68521210-E4AF-F44D-D199-23E6451ACA2C}"/>
              </a:ext>
            </a:extLst>
          </p:cNvPr>
          <p:cNvSpPr txBox="1"/>
          <p:nvPr/>
        </p:nvSpPr>
        <p:spPr>
          <a:xfrm>
            <a:off x="726440" y="1638238"/>
            <a:ext cx="13177520" cy="1463991"/>
          </a:xfrm>
          <a:prstGeom prst="rect">
            <a:avLst/>
          </a:prstGeom>
          <a:solidFill>
            <a:schemeClr val="accent2"/>
          </a:solidFill>
          <a:ln w="12700">
            <a:solidFill>
              <a:schemeClr val="accent2"/>
            </a:solidFill>
            <a:miter lim="800000"/>
            <a:headEnd/>
            <a:tailEnd/>
          </a:ln>
        </p:spPr>
        <p:txBody>
          <a:bodyPr vert="horz" wrap="square" lIns="0" tIns="0" rIns="0" bIns="0" numCol="1" anchor="t" anchorCtr="0" compatLnSpc="1">
            <a:prstTxWarp prst="textNoShape">
              <a:avLst/>
            </a:prstTxWarp>
            <a:spAutoFit/>
          </a:bodyPr>
          <a:lstStyle>
            <a:lvl1pPr indent="0" fontAlgn="base">
              <a:lnSpc>
                <a:spcPct val="100000"/>
              </a:lnSpc>
              <a:spcBef>
                <a:spcPts val="1800"/>
              </a:spcBef>
              <a:spcAft>
                <a:spcPct val="0"/>
              </a:spcAft>
              <a:buClr>
                <a:srgbClr val="63666A"/>
              </a:buClr>
              <a:buSzPct val="100000"/>
              <a:buFont typeface="Arial" pitchFamily="-65" charset="0"/>
              <a:buNone/>
              <a:defRPr lang="en-US" sz="2500" dirty="0">
                <a:solidFill>
                  <a:schemeClr val="tx2"/>
                </a:solidFill>
                <a:ea typeface="Arial Unicode MS" pitchFamily="-65" charset="0"/>
                <a:cs typeface="Arial Unicode MS" pitchFamily="-65" charset="0"/>
                <a:sym typeface="Arial" pitchFamily="-65" charset="0"/>
              </a:defRPr>
            </a:lvl1pPr>
            <a:lvl2pPr marL="457163" indent="-240010" fontAlgn="base">
              <a:lnSpc>
                <a:spcPct val="100000"/>
              </a:lnSpc>
              <a:spcBef>
                <a:spcPts val="0"/>
              </a:spcBef>
              <a:spcAft>
                <a:spcPct val="0"/>
              </a:spcAft>
              <a:buClr>
                <a:srgbClr val="63666A"/>
              </a:buClr>
              <a:buSzPct val="100000"/>
              <a:buFont typeface="Arial" pitchFamily="-65" charset="0"/>
              <a:buChar char="–"/>
              <a:defRPr sz="2100">
                <a:solidFill>
                  <a:srgbClr val="595959"/>
                </a:solidFill>
                <a:ea typeface="Arial Unicode MS" pitchFamily="-65" charset="0"/>
                <a:cs typeface="Arial Unicode MS" pitchFamily="-65" charset="0"/>
                <a:sym typeface="Arial" pitchFamily="-65" charset="0"/>
              </a:defRPr>
            </a:lvl2pPr>
            <a:lvl3pPr marL="731462" indent="-201152" fontAlgn="base">
              <a:lnSpc>
                <a:spcPct val="100000"/>
              </a:lnSpc>
              <a:spcBef>
                <a:spcPts val="0"/>
              </a:spcBef>
              <a:spcAft>
                <a:spcPct val="0"/>
              </a:spcAft>
              <a:buClr>
                <a:srgbClr val="63666A"/>
              </a:buClr>
              <a:buSzPct val="100000"/>
              <a:buFont typeface="Arial" pitchFamily="-65" charset="0"/>
              <a:buChar char="•"/>
              <a:defRPr sz="2100">
                <a:solidFill>
                  <a:srgbClr val="595959"/>
                </a:solidFill>
                <a:ea typeface="Arial Unicode MS" pitchFamily="-65" charset="0"/>
                <a:cs typeface="Arial Unicode MS" pitchFamily="-65" charset="0"/>
                <a:sym typeface="Arial" pitchFamily="-65" charset="0"/>
              </a:defRPr>
            </a:lvl3pPr>
            <a:lvl4pPr marL="1097192" indent="-201152" fontAlgn="base">
              <a:lnSpc>
                <a:spcPct val="100000"/>
              </a:lnSpc>
              <a:spcBef>
                <a:spcPts val="0"/>
              </a:spcBef>
              <a:spcAft>
                <a:spcPct val="0"/>
              </a:spcAft>
              <a:buClr>
                <a:srgbClr val="63666A"/>
              </a:buClr>
              <a:buSzPct val="100000"/>
              <a:buFont typeface="Arial" pitchFamily="-65" charset="0"/>
              <a:buChar char="–"/>
              <a:defRPr sz="2100">
                <a:solidFill>
                  <a:srgbClr val="595959"/>
                </a:solidFill>
                <a:ea typeface="Arial Unicode MS" pitchFamily="-65" charset="0"/>
                <a:cs typeface="Arial Unicode MS" pitchFamily="-65" charset="0"/>
                <a:sym typeface="Arial" pitchFamily="-65" charset="0"/>
              </a:defRPr>
            </a:lvl4pPr>
            <a:lvl5pPr marL="1487845" indent="-191119" fontAlgn="base">
              <a:lnSpc>
                <a:spcPct val="100000"/>
              </a:lnSpc>
              <a:spcBef>
                <a:spcPts val="0"/>
              </a:spcBef>
              <a:spcAft>
                <a:spcPct val="0"/>
              </a:spcAft>
              <a:buClr>
                <a:srgbClr val="63666A"/>
              </a:buClr>
              <a:buSzPct val="100000"/>
              <a:buFont typeface="Arial" pitchFamily="-65" charset="0"/>
              <a:buChar char="»"/>
              <a:defRPr sz="2100">
                <a:solidFill>
                  <a:srgbClr val="595959"/>
                </a:solidFill>
                <a:ea typeface="Arial Unicode MS" pitchFamily="-65" charset="0"/>
                <a:cs typeface="Arial Unicode MS" pitchFamily="-65" charset="0"/>
                <a:sym typeface="Arial" pitchFamily="-65" charset="0"/>
              </a:defRPr>
            </a:lvl5pPr>
            <a:lvl6pPr marL="1776081" indent="-192008" fontAlgn="base">
              <a:spcBef>
                <a:spcPts val="379"/>
              </a:spcBef>
              <a:spcAft>
                <a:spcPct val="0"/>
              </a:spcAft>
              <a:buSzPct val="100000"/>
              <a:buFont typeface="Arial" pitchFamily="-110" charset="0"/>
              <a:buChar char="»"/>
              <a:defRPr sz="1700">
                <a:sym typeface="Arial" pitchFamily="-110" charset="0"/>
              </a:defRPr>
            </a:lvl6pPr>
            <a:lvl7pPr marL="2064094" indent="-192008" fontAlgn="base">
              <a:spcBef>
                <a:spcPts val="379"/>
              </a:spcBef>
              <a:spcAft>
                <a:spcPct val="0"/>
              </a:spcAft>
              <a:buSzPct val="100000"/>
              <a:buFont typeface="Arial" pitchFamily="-110" charset="0"/>
              <a:buChar char="»"/>
              <a:defRPr sz="1700">
                <a:sym typeface="Arial" pitchFamily="-110" charset="0"/>
              </a:defRPr>
            </a:lvl7pPr>
            <a:lvl8pPr marL="2352107" indent="-192008" fontAlgn="base">
              <a:spcBef>
                <a:spcPts val="379"/>
              </a:spcBef>
              <a:spcAft>
                <a:spcPct val="0"/>
              </a:spcAft>
              <a:buSzPct val="100000"/>
              <a:buFont typeface="Arial" pitchFamily="-110" charset="0"/>
              <a:buChar char="»"/>
              <a:defRPr sz="1700">
                <a:sym typeface="Arial" pitchFamily="-110" charset="0"/>
              </a:defRPr>
            </a:lvl8pPr>
            <a:lvl9pPr marL="2640119" indent="-192008" fontAlgn="base">
              <a:spcBef>
                <a:spcPts val="379"/>
              </a:spcBef>
              <a:spcAft>
                <a:spcPct val="0"/>
              </a:spcAft>
              <a:buSzPct val="100000"/>
              <a:buFont typeface="Arial" pitchFamily="-110" charset="0"/>
              <a:buChar char="»"/>
              <a:defRPr sz="1700">
                <a:sym typeface="Arial" pitchFamily="-110" charset="0"/>
              </a:defRPr>
            </a:lvl9pPr>
          </a:lstStyle>
          <a:p>
            <a:pPr algn="ctr" defTabSz="1097280">
              <a:spcBef>
                <a:spcPts val="2160"/>
              </a:spcBef>
            </a:pPr>
            <a:r>
              <a:rPr lang="en-US" sz="1920" dirty="0">
                <a:solidFill>
                  <a:srgbClr val="F4F4F4"/>
                </a:solidFill>
                <a:latin typeface="Arial"/>
              </a:rPr>
              <a:t>Provide process discovery and analytics services utilizing lean six sigma methodologies delivering current state process and systems landscape insights, fit-to-standard USROTC process assessment and design of required process changes.</a:t>
            </a:r>
          </a:p>
          <a:p>
            <a:pPr algn="ctr" defTabSz="1097280">
              <a:spcBef>
                <a:spcPts val="2160"/>
              </a:spcBef>
            </a:pPr>
            <a:r>
              <a:rPr lang="en-US" sz="1920" dirty="0">
                <a:solidFill>
                  <a:srgbClr val="F4F4F4"/>
                </a:solidFill>
                <a:latin typeface="Arial"/>
              </a:rPr>
              <a:t> Design and quantify future state improvements in collaboration with Business and IT partners with the ultimate goal to successfully deliver technology and process design solutions aligned with project goals.  </a:t>
            </a:r>
          </a:p>
        </p:txBody>
      </p:sp>
      <p:sp>
        <p:nvSpPr>
          <p:cNvPr id="16" name="TextBox 15">
            <a:extLst>
              <a:ext uri="{FF2B5EF4-FFF2-40B4-BE49-F238E27FC236}">
                <a16:creationId xmlns:a16="http://schemas.microsoft.com/office/drawing/2014/main" id="{A24EA025-C38E-50EF-506B-C84817F9DC24}"/>
              </a:ext>
            </a:extLst>
          </p:cNvPr>
          <p:cNvSpPr txBox="1"/>
          <p:nvPr/>
        </p:nvSpPr>
        <p:spPr>
          <a:xfrm>
            <a:off x="2593388" y="7737675"/>
            <a:ext cx="8851498" cy="286232"/>
          </a:xfrm>
          <a:prstGeom prst="rect">
            <a:avLst/>
          </a:prstGeom>
          <a:noFill/>
        </p:spPr>
        <p:txBody>
          <a:bodyPr wrap="square" rtlCol="0">
            <a:spAutoFit/>
          </a:bodyPr>
          <a:lstStyle/>
          <a:p>
            <a:pPr defTabSz="1097280" fontAlgn="auto">
              <a:spcBef>
                <a:spcPts val="0"/>
              </a:spcBef>
              <a:spcAft>
                <a:spcPts val="0"/>
              </a:spcAft>
            </a:pPr>
            <a:r>
              <a:rPr lang="en-US" sz="1260" dirty="0">
                <a:solidFill>
                  <a:srgbClr val="212121"/>
                </a:solidFill>
                <a:latin typeface="Arial"/>
              </a:rPr>
              <a:t>*Further scoping of sub-processes required during next steps – discovery and chartering</a:t>
            </a:r>
          </a:p>
        </p:txBody>
      </p:sp>
    </p:spTree>
    <p:extLst>
      <p:ext uri="{BB962C8B-B14F-4D97-AF65-F5344CB8AC3E}">
        <p14:creationId xmlns:p14="http://schemas.microsoft.com/office/powerpoint/2010/main" val="34332656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A092827-70D1-6888-8D2D-6B7BF409D573}"/>
              </a:ext>
            </a:extLst>
          </p:cNvPr>
          <p:cNvGraphicFramePr>
            <a:graphicFrameLocks noGrp="1"/>
          </p:cNvGraphicFramePr>
          <p:nvPr/>
        </p:nvGraphicFramePr>
        <p:xfrm>
          <a:off x="9014215" y="119453"/>
          <a:ext cx="5226569" cy="3078480"/>
        </p:xfrm>
        <a:graphic>
          <a:graphicData uri="http://schemas.openxmlformats.org/drawingml/2006/table">
            <a:tbl>
              <a:tblPr firstCol="1" bandRow="1">
                <a:tableStyleId>{93296810-A885-4BE3-A3E7-6D5BEEA58F35}</a:tableStyleId>
              </a:tblPr>
              <a:tblGrid>
                <a:gridCol w="2120791">
                  <a:extLst>
                    <a:ext uri="{9D8B030D-6E8A-4147-A177-3AD203B41FA5}">
                      <a16:colId xmlns:a16="http://schemas.microsoft.com/office/drawing/2014/main" val="2698458458"/>
                    </a:ext>
                  </a:extLst>
                </a:gridCol>
                <a:gridCol w="3105778">
                  <a:extLst>
                    <a:ext uri="{9D8B030D-6E8A-4147-A177-3AD203B41FA5}">
                      <a16:colId xmlns:a16="http://schemas.microsoft.com/office/drawing/2014/main" val="3956821755"/>
                    </a:ext>
                  </a:extLst>
                </a:gridCol>
              </a:tblGrid>
              <a:tr h="292608">
                <a:tc>
                  <a:txBody>
                    <a:bodyPr/>
                    <a:lstStyle/>
                    <a:p>
                      <a:r>
                        <a:rPr lang="en-US" sz="1200" b="1" dirty="0">
                          <a:solidFill>
                            <a:schemeClr val="bg1"/>
                          </a:solidFill>
                        </a:rPr>
                        <a:t>SOW </a:t>
                      </a:r>
                    </a:p>
                  </a:txBody>
                  <a:tcPr marL="109728" marR="109728" marT="54864" marB="54864">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US" sz="1100" dirty="0">
                          <a:solidFill>
                            <a:schemeClr val="tx2"/>
                          </a:solidFill>
                        </a:rPr>
                        <a:t>TBD – Entered by CPI</a:t>
                      </a:r>
                    </a:p>
                  </a:txBody>
                  <a:tcPr marL="109728" marR="109728" marT="54864" marB="54864">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059175303"/>
                  </a:ext>
                </a:extLst>
              </a:tr>
              <a:tr h="292608">
                <a:tc>
                  <a:txBody>
                    <a:bodyPr/>
                    <a:lstStyle/>
                    <a:p>
                      <a:r>
                        <a:rPr lang="en-US" sz="1200" b="1" dirty="0">
                          <a:solidFill>
                            <a:schemeClr val="bg1"/>
                          </a:solidFill>
                        </a:rPr>
                        <a:t>Project ID</a:t>
                      </a:r>
                    </a:p>
                  </a:txBody>
                  <a:tcPr marL="109728" marR="109728" marT="54864" marB="54864">
                    <a:lnL w="12700" cap="flat" cmpd="sng" algn="ctr">
                      <a:solidFill>
                        <a:schemeClr val="tx1"/>
                      </a:solidFill>
                      <a:prstDash val="solid"/>
                      <a:round/>
                      <a:headEnd type="none" w="med" len="med"/>
                      <a:tailEnd type="none" w="med" len="med"/>
                    </a:lnL>
                  </a:tcPr>
                </a:tc>
                <a:tc>
                  <a:txBody>
                    <a:bodyPr/>
                    <a:lstStyle/>
                    <a:p>
                      <a:endParaRPr lang="en-US" sz="11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6556289"/>
                  </a:ext>
                </a:extLst>
              </a:tr>
              <a:tr h="292608">
                <a:tc>
                  <a:txBody>
                    <a:bodyPr/>
                    <a:lstStyle/>
                    <a:p>
                      <a:r>
                        <a:rPr lang="en-US" sz="1200" b="1" dirty="0">
                          <a:solidFill>
                            <a:schemeClr val="bg1"/>
                          </a:solidFill>
                        </a:rPr>
                        <a:t>Z-Code</a:t>
                      </a:r>
                    </a:p>
                  </a:txBody>
                  <a:tcPr marL="109728" marR="109728" marT="54864" marB="54864">
                    <a:lnL w="12700" cap="flat" cmpd="sng" algn="ctr">
                      <a:solidFill>
                        <a:schemeClr val="tx1"/>
                      </a:solidFill>
                      <a:prstDash val="solid"/>
                      <a:round/>
                      <a:headEnd type="none" w="med" len="med"/>
                      <a:tailEnd type="none" w="med" len="med"/>
                    </a:lnL>
                  </a:tcPr>
                </a:tc>
                <a:tc>
                  <a:txBody>
                    <a:bodyPr/>
                    <a:lstStyle/>
                    <a:p>
                      <a:endParaRPr lang="en-US" sz="11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16049998"/>
                  </a:ext>
                </a:extLst>
              </a:tr>
              <a:tr h="292608">
                <a:tc>
                  <a:txBody>
                    <a:bodyPr/>
                    <a:lstStyle/>
                    <a:p>
                      <a:r>
                        <a:rPr lang="en-US" sz="1200" b="1" dirty="0">
                          <a:solidFill>
                            <a:schemeClr val="bg1"/>
                          </a:solidFill>
                        </a:rPr>
                        <a:t>Finance Approver</a:t>
                      </a:r>
                    </a:p>
                  </a:txBody>
                  <a:tcPr marL="109728" marR="109728" marT="54864" marB="54864">
                    <a:lnL w="12700" cap="flat" cmpd="sng" algn="ctr">
                      <a:solidFill>
                        <a:schemeClr val="tx1"/>
                      </a:solidFill>
                      <a:prstDash val="solid"/>
                      <a:round/>
                      <a:headEnd type="none" w="med" len="med"/>
                      <a:tailEnd type="none" w="med" len="med"/>
                    </a:lnL>
                  </a:tcPr>
                </a:tc>
                <a:tc>
                  <a:txBody>
                    <a:bodyPr/>
                    <a:lstStyle/>
                    <a:p>
                      <a:endParaRPr lang="en-US" sz="11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65613213"/>
                  </a:ext>
                </a:extLst>
              </a:tr>
              <a:tr h="292608">
                <a:tc>
                  <a:txBody>
                    <a:bodyPr/>
                    <a:lstStyle/>
                    <a:p>
                      <a:r>
                        <a:rPr lang="en-US" sz="1200" b="1" dirty="0">
                          <a:solidFill>
                            <a:schemeClr val="bg1"/>
                          </a:solidFill>
                        </a:rPr>
                        <a:t>Business Approver</a:t>
                      </a:r>
                    </a:p>
                  </a:txBody>
                  <a:tcPr marL="109728" marR="109728" marT="54864" marB="54864">
                    <a:lnL w="12700" cap="flat" cmpd="sng" algn="ctr">
                      <a:solidFill>
                        <a:schemeClr val="tx1"/>
                      </a:solidFill>
                      <a:prstDash val="solid"/>
                      <a:round/>
                      <a:headEnd type="none" w="med" len="med"/>
                      <a:tailEnd type="none" w="med" len="med"/>
                    </a:lnL>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100" dirty="0">
                          <a:solidFill>
                            <a:schemeClr val="tx2"/>
                          </a:solidFill>
                        </a:rPr>
                        <a:t>Ramos, Conrado, Sr Dir RPO Comm</a:t>
                      </a: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49765768"/>
                  </a:ext>
                </a:extLst>
              </a:tr>
              <a:tr h="292608">
                <a:tc>
                  <a:txBody>
                    <a:bodyPr/>
                    <a:lstStyle/>
                    <a:p>
                      <a:r>
                        <a:rPr lang="en-US" sz="1200" b="1" dirty="0">
                          <a:solidFill>
                            <a:schemeClr val="bg1"/>
                          </a:solidFill>
                        </a:rPr>
                        <a:t>Head of Technology (HoT)</a:t>
                      </a:r>
                    </a:p>
                  </a:txBody>
                  <a:tcPr marL="109728" marR="109728" marT="54864" marB="54864">
                    <a:lnL w="12700" cap="flat" cmpd="sng" algn="ctr">
                      <a:solidFill>
                        <a:schemeClr val="tx1"/>
                      </a:solidFill>
                      <a:prstDash val="solid"/>
                      <a:round/>
                      <a:headEnd type="none" w="med" len="med"/>
                      <a:tailEnd type="none" w="med" len="med"/>
                    </a:lnL>
                  </a:tcPr>
                </a:tc>
                <a:tc>
                  <a:txBody>
                    <a:bodyPr/>
                    <a:lstStyle/>
                    <a:p>
                      <a:r>
                        <a:rPr lang="en-US" sz="1100" dirty="0">
                          <a:solidFill>
                            <a:schemeClr val="tx2"/>
                          </a:solidFill>
                        </a:rPr>
                        <a:t>Eric Bateh (Garg, Manish)</a:t>
                      </a: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24053259"/>
                  </a:ext>
                </a:extLst>
              </a:tr>
              <a:tr h="292608">
                <a:tc>
                  <a:txBody>
                    <a:bodyPr/>
                    <a:lstStyle/>
                    <a:p>
                      <a:r>
                        <a:rPr lang="en-US" sz="1200" b="1" dirty="0">
                          <a:solidFill>
                            <a:schemeClr val="bg1"/>
                          </a:solidFill>
                        </a:rPr>
                        <a:t>Project Champion</a:t>
                      </a:r>
                    </a:p>
                  </a:txBody>
                  <a:tcPr marL="109728" marR="109728" marT="54864" marB="54864">
                    <a:lnL w="12700" cap="flat" cmpd="sng" algn="ctr">
                      <a:solidFill>
                        <a:schemeClr val="tx1"/>
                      </a:solidFill>
                      <a:prstDash val="solid"/>
                      <a:round/>
                      <a:headEnd type="none" w="med" len="med"/>
                      <a:tailEnd type="none" w="med" len="med"/>
                    </a:lnL>
                  </a:tcPr>
                </a:tc>
                <a:tc>
                  <a:txBody>
                    <a:bodyPr/>
                    <a:lstStyle/>
                    <a:p>
                      <a:r>
                        <a:rPr lang="en-US" sz="1100" dirty="0">
                          <a:solidFill>
                            <a:schemeClr val="tx2"/>
                          </a:solidFill>
                        </a:rPr>
                        <a:t>Brown, Alejandra SCG SM - Commercial</a:t>
                      </a: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80006173"/>
                  </a:ext>
                </a:extLst>
              </a:tr>
              <a:tr h="438912">
                <a:tc>
                  <a:txBody>
                    <a:bodyPr/>
                    <a:lstStyle/>
                    <a:p>
                      <a:r>
                        <a:rPr lang="en-US" sz="1200" b="1" dirty="0">
                          <a:solidFill>
                            <a:schemeClr val="bg1"/>
                          </a:solidFill>
                        </a:rPr>
                        <a:t>Project Sponsor</a:t>
                      </a:r>
                    </a:p>
                  </a:txBody>
                  <a:tcPr marL="109728" marR="109728" marT="54864" marB="54864">
                    <a:lnL w="12700" cap="flat" cmpd="sng" algn="ctr">
                      <a:solidFill>
                        <a:schemeClr val="tx1"/>
                      </a:solidFill>
                      <a:prstDash val="solid"/>
                      <a:round/>
                      <a:headEnd type="none" w="med" len="med"/>
                      <a:tailEnd type="none" w="med" len="med"/>
                    </a:lnL>
                  </a:tcPr>
                </a:tc>
                <a:tc>
                  <a:txBody>
                    <a:bodyPr/>
                    <a:lstStyle/>
                    <a:p>
                      <a:r>
                        <a:rPr lang="en-US" sz="1100" dirty="0">
                          <a:solidFill>
                            <a:schemeClr val="tx2"/>
                          </a:solidFill>
                        </a:rPr>
                        <a:t>Ramos, Conrado, Sr Dir RPO Comm</a:t>
                      </a:r>
                    </a:p>
                    <a:p>
                      <a:r>
                        <a:rPr lang="en-US" sz="1100" dirty="0">
                          <a:solidFill>
                            <a:schemeClr val="tx2"/>
                          </a:solidFill>
                        </a:rPr>
                        <a:t>Fernando Diaz, E2E Sterilmed </a:t>
                      </a: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50982297"/>
                  </a:ext>
                </a:extLst>
              </a:tr>
              <a:tr h="292608">
                <a:tc>
                  <a:txBody>
                    <a:bodyPr/>
                    <a:lstStyle/>
                    <a:p>
                      <a:r>
                        <a:rPr lang="en-US" sz="1200" b="1" dirty="0">
                          <a:solidFill>
                            <a:schemeClr val="bg1"/>
                          </a:solidFill>
                        </a:rPr>
                        <a:t>CPI Owner</a:t>
                      </a:r>
                    </a:p>
                  </a:txBody>
                  <a:tcPr marL="109728" marR="109728" marT="54864" marB="54864">
                    <a:lnL w="12700" cap="flat" cmpd="sng" algn="ctr">
                      <a:solidFill>
                        <a:schemeClr val="tx1"/>
                      </a:solidFill>
                      <a:prstDash val="solid"/>
                      <a:round/>
                      <a:headEnd type="none" w="med" len="med"/>
                      <a:tailEnd type="none" w="med" len="med"/>
                    </a:lnL>
                  </a:tcPr>
                </a:tc>
                <a:tc>
                  <a:txBody>
                    <a:bodyPr/>
                    <a:lstStyle/>
                    <a:p>
                      <a:r>
                        <a:rPr lang="en-US" sz="1100" dirty="0">
                          <a:solidFill>
                            <a:schemeClr val="tx2"/>
                          </a:solidFill>
                        </a:rPr>
                        <a:t>Mary Ann Kopinski /Sean Authier</a:t>
                      </a: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91055685"/>
                  </a:ext>
                </a:extLst>
              </a:tr>
              <a:tr h="292608">
                <a:tc>
                  <a:txBody>
                    <a:bodyPr/>
                    <a:lstStyle/>
                    <a:p>
                      <a:r>
                        <a:rPr lang="en-US" sz="1200" b="1" dirty="0">
                          <a:solidFill>
                            <a:schemeClr val="bg1"/>
                          </a:solidFill>
                        </a:rPr>
                        <a:t>CPI Lead</a:t>
                      </a:r>
                    </a:p>
                  </a:txBody>
                  <a:tcPr marL="109728" marR="109728" marT="54864" marB="54864">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100" dirty="0">
                          <a:solidFill>
                            <a:schemeClr val="tx2"/>
                          </a:solidFill>
                        </a:rPr>
                        <a:t>Troy Engel</a:t>
                      </a:r>
                    </a:p>
                  </a:txBody>
                  <a:tcPr marL="109728" marR="109728" marT="54864" marB="54864">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0063244"/>
                  </a:ext>
                </a:extLst>
              </a:tr>
            </a:tbl>
          </a:graphicData>
        </a:graphic>
      </p:graphicFrame>
      <p:graphicFrame>
        <p:nvGraphicFramePr>
          <p:cNvPr id="6" name="Table 6">
            <a:extLst>
              <a:ext uri="{FF2B5EF4-FFF2-40B4-BE49-F238E27FC236}">
                <a16:creationId xmlns:a16="http://schemas.microsoft.com/office/drawing/2014/main" id="{8C3F5151-CFA5-2F06-2887-45E1498EB3E3}"/>
              </a:ext>
            </a:extLst>
          </p:cNvPr>
          <p:cNvGraphicFramePr>
            <a:graphicFrameLocks noGrp="1"/>
          </p:cNvGraphicFramePr>
          <p:nvPr/>
        </p:nvGraphicFramePr>
        <p:xfrm>
          <a:off x="270342" y="1181981"/>
          <a:ext cx="8590489" cy="2002536"/>
        </p:xfrm>
        <a:graphic>
          <a:graphicData uri="http://schemas.openxmlformats.org/drawingml/2006/table">
            <a:tbl>
              <a:tblPr firstCol="1" bandRow="1">
                <a:tableStyleId>{93296810-A885-4BE3-A3E7-6D5BEEA58F35}</a:tableStyleId>
              </a:tblPr>
              <a:tblGrid>
                <a:gridCol w="1454564">
                  <a:extLst>
                    <a:ext uri="{9D8B030D-6E8A-4147-A177-3AD203B41FA5}">
                      <a16:colId xmlns:a16="http://schemas.microsoft.com/office/drawing/2014/main" val="3075126906"/>
                    </a:ext>
                  </a:extLst>
                </a:gridCol>
                <a:gridCol w="7135925">
                  <a:extLst>
                    <a:ext uri="{9D8B030D-6E8A-4147-A177-3AD203B41FA5}">
                      <a16:colId xmlns:a16="http://schemas.microsoft.com/office/drawing/2014/main" val="155993585"/>
                    </a:ext>
                  </a:extLst>
                </a:gridCol>
              </a:tblGrid>
              <a:tr h="877824">
                <a:tc>
                  <a:txBody>
                    <a:bodyPr/>
                    <a:lstStyle/>
                    <a:p>
                      <a:r>
                        <a:rPr lang="en-US" sz="1300" b="1" dirty="0">
                          <a:solidFill>
                            <a:schemeClr val="bg1"/>
                          </a:solidFill>
                        </a:rPr>
                        <a:t>Problem Statement</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US" sz="1300" dirty="0">
                          <a:solidFill>
                            <a:schemeClr val="tx2"/>
                          </a:solidFill>
                        </a:rPr>
                        <a:t>Sterilmed supply chain is not integrated to the J&amp;J MT existing processes and systems. Sterilmed is technically hosted in an aging platform, with capability gaps that require the business to develop manual processes that are inefficient and impact the effectiveness of service delivery and ultimately not able to support expected growth in business.</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207511"/>
                  </a:ext>
                </a:extLst>
              </a:tr>
              <a:tr h="1069848">
                <a:tc>
                  <a:txBody>
                    <a:bodyPr/>
                    <a:lstStyle/>
                    <a:p>
                      <a:r>
                        <a:rPr lang="en-US" sz="1300" b="1" dirty="0">
                          <a:solidFill>
                            <a:schemeClr val="bg1"/>
                          </a:solidFill>
                        </a:rPr>
                        <a:t>Goal Statement</a:t>
                      </a:r>
                    </a:p>
                  </a:txBody>
                  <a:tcPr marL="109728" marR="109728" marT="54864" marB="54864"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Migrate to existing CSS solution with required capabilities to support business growth as a bridge to S4 long-term solution (2033). Sterilmed will require adoption of existing CSS business processes and redesign for process gaps. CPI to document current state processes and systems landscape, fit-to-standard USROTC process assessment and design of required process changes with identification of process efficiency opportunities.</a:t>
                      </a:r>
                    </a:p>
                  </a:txBody>
                  <a:tcPr marL="109728" marR="109728" marT="54864" marB="54864"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5874715"/>
                  </a:ext>
                </a:extLst>
              </a:tr>
            </a:tbl>
          </a:graphicData>
        </a:graphic>
      </p:graphicFrame>
      <p:graphicFrame>
        <p:nvGraphicFramePr>
          <p:cNvPr id="7" name="Table 7">
            <a:extLst>
              <a:ext uri="{FF2B5EF4-FFF2-40B4-BE49-F238E27FC236}">
                <a16:creationId xmlns:a16="http://schemas.microsoft.com/office/drawing/2014/main" id="{52E1BB80-A478-03D2-C7ED-F6AD507B8CD4}"/>
              </a:ext>
            </a:extLst>
          </p:cNvPr>
          <p:cNvGraphicFramePr>
            <a:graphicFrameLocks noGrp="1"/>
          </p:cNvGraphicFramePr>
          <p:nvPr/>
        </p:nvGraphicFramePr>
        <p:xfrm>
          <a:off x="270342" y="5506087"/>
          <a:ext cx="13970440" cy="2212763"/>
        </p:xfrm>
        <a:graphic>
          <a:graphicData uri="http://schemas.openxmlformats.org/drawingml/2006/table">
            <a:tbl>
              <a:tblPr firstRow="1" bandRow="1">
                <a:tableStyleId>{21E4AEA4-8DFA-4A89-87EB-49C32662AFE0}</a:tableStyleId>
              </a:tblPr>
              <a:tblGrid>
                <a:gridCol w="2055414">
                  <a:extLst>
                    <a:ext uri="{9D8B030D-6E8A-4147-A177-3AD203B41FA5}">
                      <a16:colId xmlns:a16="http://schemas.microsoft.com/office/drawing/2014/main" val="3568465491"/>
                    </a:ext>
                  </a:extLst>
                </a:gridCol>
                <a:gridCol w="9947078">
                  <a:extLst>
                    <a:ext uri="{9D8B030D-6E8A-4147-A177-3AD203B41FA5}">
                      <a16:colId xmlns:a16="http://schemas.microsoft.com/office/drawing/2014/main" val="2504025374"/>
                    </a:ext>
                  </a:extLst>
                </a:gridCol>
                <a:gridCol w="1967948">
                  <a:extLst>
                    <a:ext uri="{9D8B030D-6E8A-4147-A177-3AD203B41FA5}">
                      <a16:colId xmlns:a16="http://schemas.microsoft.com/office/drawing/2014/main" val="718263864"/>
                    </a:ext>
                  </a:extLst>
                </a:gridCol>
              </a:tblGrid>
              <a:tr h="460775">
                <a:tc>
                  <a:txBody>
                    <a:bodyPr/>
                    <a:lstStyle/>
                    <a:p>
                      <a:r>
                        <a:rPr lang="en-US" sz="1400" dirty="0"/>
                        <a:t>CPI Deliverables</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US" sz="1400" dirty="0"/>
                        <a:t>Definition(s) / Client Expectations</a:t>
                      </a:r>
                    </a:p>
                  </a:txBody>
                  <a:tcPr marL="109728" marR="109728" marT="54864" marB="54864" anchor="ctr">
                    <a:lnT w="12700" cap="flat" cmpd="sng" algn="ctr">
                      <a:solidFill>
                        <a:schemeClr val="tx1"/>
                      </a:solidFill>
                      <a:prstDash val="solid"/>
                      <a:round/>
                      <a:headEnd type="none" w="med" len="med"/>
                      <a:tailEnd type="none" w="med" len="med"/>
                    </a:lnT>
                  </a:tcPr>
                </a:tc>
                <a:tc>
                  <a:txBody>
                    <a:bodyPr/>
                    <a:lstStyle/>
                    <a:p>
                      <a:r>
                        <a:rPr lang="en-US" sz="1400" dirty="0"/>
                        <a:t>Completion Date</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4505546"/>
                  </a:ext>
                </a:extLst>
              </a:tr>
              <a:tr h="559613">
                <a:tc>
                  <a:txBody>
                    <a:bodyPr/>
                    <a:lstStyle/>
                    <a:p>
                      <a:pPr algn="l">
                        <a:spcAft>
                          <a:spcPts val="0"/>
                        </a:spcAft>
                      </a:pPr>
                      <a:r>
                        <a:rPr lang="en-US" sz="1200" dirty="0">
                          <a:solidFill>
                            <a:schemeClr val="tx2"/>
                          </a:solidFill>
                          <a:effectLst/>
                        </a:rPr>
                        <a:t>Current State Processes and Interviews</a:t>
                      </a:r>
                      <a:endParaRPr lang="en-AU" sz="1200" b="0" dirty="0">
                        <a:solidFill>
                          <a:schemeClr val="tx2"/>
                        </a:solidFill>
                        <a:effectLst/>
                        <a:latin typeface="Arial" panose="020B0604020202020204" pitchFamily="34" charset="0"/>
                        <a:ea typeface="Times New Roman" panose="02020603050405020304" pitchFamily="18" charset="0"/>
                        <a:cs typeface="Arial" panose="020B0604020202020204" pitchFamily="34" charset="0"/>
                      </a:endParaRPr>
                    </a:p>
                  </a:txBody>
                  <a:tcPr marL="65910" marR="65910" marT="32918" marB="32918" anchor="ctr">
                    <a:lnL w="12700" cap="flat" cmpd="sng" algn="ctr">
                      <a:solidFill>
                        <a:schemeClr val="tx1"/>
                      </a:solidFill>
                      <a:prstDash val="solid"/>
                      <a:round/>
                      <a:headEnd type="none" w="med" len="med"/>
                      <a:tailEnd type="none" w="med" len="med"/>
                    </a:lnL>
                  </a:tcPr>
                </a:tc>
                <a:tc>
                  <a:txBody>
                    <a:bodyPr/>
                    <a:lstStyle/>
                    <a:p>
                      <a:pPr algn="l">
                        <a:spcAft>
                          <a:spcPts val="0"/>
                        </a:spcAft>
                      </a:pPr>
                      <a:r>
                        <a:rPr lang="en-US" sz="1100" dirty="0">
                          <a:solidFill>
                            <a:schemeClr val="tx2">
                              <a:lumMod val="75000"/>
                              <a:lumOff val="25000"/>
                            </a:schemeClr>
                          </a:solidFill>
                          <a:effectLst/>
                          <a:latin typeface="Arial" panose="020B0604020202020204" pitchFamily="34" charset="0"/>
                          <a:cs typeface="Arial" panose="020B0604020202020204" pitchFamily="34" charset="0"/>
                        </a:rPr>
                        <a:t>We will conduct interviews with approximately 20 people to understand pain points in the current way of working and possible gaps and needs with the processes. We will facilitate the Current State Process Map of the process with current state cycle time and details where metrics are currently gathered. Deliverable: process map in Visio</a:t>
                      </a:r>
                      <a:endParaRPr lang="en-AU" sz="1100" b="0" dirty="0">
                        <a:solidFill>
                          <a:schemeClr val="tx2">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65910" marR="65910" marT="32918" marB="32918"/>
                </a:tc>
                <a:tc>
                  <a:txBody>
                    <a:bodyPr/>
                    <a:lstStyle/>
                    <a:p>
                      <a:r>
                        <a:rPr lang="en-US" sz="1300" dirty="0">
                          <a:solidFill>
                            <a:schemeClr val="tx2"/>
                          </a:solidFill>
                        </a:rPr>
                        <a:t>MM/DD/YYYY</a:t>
                      </a:r>
                    </a:p>
                  </a:txBody>
                  <a:tcPr marL="109728" marR="109728" marT="54864" marB="54864"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94664515"/>
                  </a:ext>
                </a:extLst>
              </a:tr>
              <a:tr h="559613">
                <a:tc>
                  <a:txBody>
                    <a:bodyPr/>
                    <a:lstStyle/>
                    <a:p>
                      <a:pPr algn="l">
                        <a:spcAft>
                          <a:spcPts val="0"/>
                        </a:spcAft>
                      </a:pPr>
                      <a:r>
                        <a:rPr lang="en-US" sz="1200" dirty="0">
                          <a:solidFill>
                            <a:schemeClr val="tx2"/>
                          </a:solidFill>
                          <a:effectLst/>
                        </a:rPr>
                        <a:t>Future State Processes fit-to standard w/gap assessment</a:t>
                      </a:r>
                      <a:endParaRPr lang="en-AU" sz="1200" dirty="0">
                        <a:solidFill>
                          <a:schemeClr val="tx2"/>
                        </a:solidFill>
                        <a:effectLst/>
                      </a:endParaRPr>
                    </a:p>
                  </a:txBody>
                  <a:tcPr marL="65910" marR="65910" marT="32918" marB="32918" anchor="ctr">
                    <a:lnL w="12700" cap="flat" cmpd="sng" algn="ctr">
                      <a:solidFill>
                        <a:schemeClr val="tx1"/>
                      </a:solidFill>
                      <a:prstDash val="solid"/>
                      <a:round/>
                      <a:headEnd type="none" w="med" len="med"/>
                      <a:tailEnd type="none" w="med" len="med"/>
                    </a:lnL>
                  </a:tcPr>
                </a:tc>
                <a:tc>
                  <a:txBody>
                    <a:bodyPr/>
                    <a:lstStyle/>
                    <a:p>
                      <a:pPr algn="l">
                        <a:spcAft>
                          <a:spcPts val="0"/>
                        </a:spcAft>
                      </a:pPr>
                      <a:r>
                        <a:rPr lang="en-US" sz="1100" dirty="0">
                          <a:solidFill>
                            <a:schemeClr val="tx2">
                              <a:lumMod val="75000"/>
                              <a:lumOff val="25000"/>
                            </a:schemeClr>
                          </a:solidFill>
                          <a:effectLst/>
                          <a:latin typeface="Arial" panose="020B0604020202020204" pitchFamily="34" charset="0"/>
                          <a:cs typeface="Arial" panose="020B0604020202020204" pitchFamily="34" charset="0"/>
                        </a:rPr>
                        <a:t>This deliverable will include fit-to-standard detailed Future State Process Maps w gap process designs, Future State Roles and Responsibilities, and alignment of those roles to the Future State Processes. This will be conducted during workshop which will include process definitions and tabletop exercises. Deliverable: process map in Visio</a:t>
                      </a:r>
                      <a:endParaRPr lang="en-AU" sz="1100" b="0" dirty="0">
                        <a:solidFill>
                          <a:schemeClr val="tx2">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65910" marR="65910" marT="32918" marB="32918"/>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MM/DD/YYYY</a:t>
                      </a:r>
                    </a:p>
                  </a:txBody>
                  <a:tcPr marL="109728" marR="109728" marT="54864" marB="54864"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75468265"/>
                  </a:ext>
                </a:extLst>
              </a:tr>
              <a:tr h="559613">
                <a:tc>
                  <a:txBody>
                    <a:bodyPr/>
                    <a:lstStyle/>
                    <a:p>
                      <a:pPr algn="l">
                        <a:spcAft>
                          <a:spcPts val="0"/>
                        </a:spcAft>
                      </a:pPr>
                      <a:r>
                        <a:rPr lang="en-US" sz="1200" b="0" dirty="0">
                          <a:solidFill>
                            <a:schemeClr val="tx2"/>
                          </a:solidFill>
                          <a:effectLst/>
                          <a:latin typeface="Arial" panose="020B0604020202020204" pitchFamily="34" charset="0"/>
                          <a:ea typeface="Times New Roman" panose="02020603050405020304" pitchFamily="18" charset="0"/>
                          <a:cs typeface="Arial" panose="020B0604020202020204" pitchFamily="34" charset="0"/>
                        </a:rPr>
                        <a:t>Improvement opportunities with associated value</a:t>
                      </a:r>
                      <a:endParaRPr lang="en-AU" sz="1200" b="0" dirty="0">
                        <a:solidFill>
                          <a:schemeClr val="tx2"/>
                        </a:solidFill>
                        <a:effectLst/>
                        <a:latin typeface="Arial" panose="020B0604020202020204" pitchFamily="34" charset="0"/>
                        <a:ea typeface="Times New Roman" panose="02020603050405020304" pitchFamily="18" charset="0"/>
                        <a:cs typeface="Arial" panose="020B0604020202020204" pitchFamily="34" charset="0"/>
                      </a:endParaRPr>
                    </a:p>
                  </a:txBody>
                  <a:tcPr marL="65910" marR="65910" marT="32918" marB="32918" anchor="ctr">
                    <a:lnL w="12700" cap="flat" cmpd="sng" algn="ctr">
                      <a:solidFill>
                        <a:schemeClr val="tx1"/>
                      </a:solidFill>
                      <a:prstDash val="solid"/>
                      <a:round/>
                      <a:headEnd type="none" w="med" len="med"/>
                      <a:tailEnd type="none" w="med" len="med"/>
                    </a:lnL>
                  </a:tcPr>
                </a:tc>
                <a:tc>
                  <a:txBody>
                    <a:bodyPr/>
                    <a:lstStyle/>
                    <a:p>
                      <a:pPr algn="l">
                        <a:spcAft>
                          <a:spcPts val="0"/>
                        </a:spcAft>
                      </a:pPr>
                      <a:r>
                        <a:rPr lang="en-US" sz="1100" dirty="0">
                          <a:solidFill>
                            <a:schemeClr val="tx2">
                              <a:lumMod val="75000"/>
                              <a:lumOff val="25000"/>
                            </a:schemeClr>
                          </a:solidFill>
                          <a:effectLst/>
                          <a:latin typeface="Arial" panose="020B0604020202020204" pitchFamily="34" charset="0"/>
                          <a:cs typeface="Arial" panose="020B0604020202020204" pitchFamily="34" charset="0"/>
                        </a:rPr>
                        <a:t>This Deliverable will include a list of improvements, which includes both process change and organizational change recommendations. This includes recommended metrics and associate potential business value. This will also include a review of the recommendations with the leadership team and refinement of the recommendations based on feedback.  </a:t>
                      </a:r>
                      <a:r>
                        <a:rPr lang="en-US" sz="1100" kern="1200" dirty="0">
                          <a:solidFill>
                            <a:schemeClr val="tx2">
                              <a:lumMod val="75000"/>
                              <a:lumOff val="25000"/>
                            </a:schemeClr>
                          </a:solidFill>
                          <a:effectLst/>
                          <a:latin typeface="Arial" panose="020B0604020202020204" pitchFamily="34" charset="0"/>
                          <a:cs typeface="Arial" panose="020B0604020202020204" pitchFamily="34" charset="0"/>
                        </a:rPr>
                        <a:t>Deliverable: CPI project execution slide deck</a:t>
                      </a:r>
                      <a:endParaRPr lang="en-AU" sz="1100" b="0" kern="1200" dirty="0">
                        <a:solidFill>
                          <a:schemeClr val="tx2">
                            <a:lumMod val="75000"/>
                            <a:lumOff val="25000"/>
                          </a:schemeClr>
                        </a:solidFill>
                        <a:effectLst/>
                        <a:latin typeface="Arial" panose="020B0604020202020204" pitchFamily="34" charset="0"/>
                        <a:ea typeface="+mn-ea"/>
                        <a:cs typeface="Arial" panose="020B0604020202020204" pitchFamily="34" charset="0"/>
                      </a:endParaRPr>
                    </a:p>
                  </a:txBody>
                  <a:tcPr marL="65910" marR="65910" marT="32918" marB="32918"/>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MM/DD/YYYY</a:t>
                      </a:r>
                    </a:p>
                  </a:txBody>
                  <a:tcPr marL="109728" marR="109728" marT="54864" marB="54864"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797038301"/>
                  </a:ext>
                </a:extLst>
              </a:tr>
            </a:tbl>
          </a:graphicData>
        </a:graphic>
      </p:graphicFrame>
      <p:graphicFrame>
        <p:nvGraphicFramePr>
          <p:cNvPr id="8" name="Table 10">
            <a:extLst>
              <a:ext uri="{FF2B5EF4-FFF2-40B4-BE49-F238E27FC236}">
                <a16:creationId xmlns:a16="http://schemas.microsoft.com/office/drawing/2014/main" id="{3824AF57-103F-B827-960E-37E11C183984}"/>
              </a:ext>
            </a:extLst>
          </p:cNvPr>
          <p:cNvGraphicFramePr>
            <a:graphicFrameLocks noGrp="1"/>
          </p:cNvGraphicFramePr>
          <p:nvPr/>
        </p:nvGraphicFramePr>
        <p:xfrm>
          <a:off x="270343" y="46852"/>
          <a:ext cx="8590489" cy="1103376"/>
        </p:xfrm>
        <a:graphic>
          <a:graphicData uri="http://schemas.openxmlformats.org/drawingml/2006/table">
            <a:tbl>
              <a:tblPr firstRow="1" bandRow="1">
                <a:tableStyleId>{F5AB1C69-6EDB-4FF4-983F-18BD219EF322}</a:tableStyleId>
              </a:tblPr>
              <a:tblGrid>
                <a:gridCol w="8590489">
                  <a:extLst>
                    <a:ext uri="{9D8B030D-6E8A-4147-A177-3AD203B41FA5}">
                      <a16:colId xmlns:a16="http://schemas.microsoft.com/office/drawing/2014/main" val="1436564732"/>
                    </a:ext>
                  </a:extLst>
                </a:gridCol>
              </a:tblGrid>
              <a:tr h="621792">
                <a:tc>
                  <a:txBody>
                    <a:bodyPr/>
                    <a:lstStyle/>
                    <a:p>
                      <a:r>
                        <a:rPr lang="en-US" sz="3400" b="1" kern="1200" dirty="0">
                          <a:solidFill>
                            <a:schemeClr val="tx2"/>
                          </a:solidFill>
                          <a:latin typeface="+mj-lt"/>
                          <a:ea typeface="+mn-ea"/>
                          <a:cs typeface="Calibri" panose="020F0502020204030204" pitchFamily="34" charset="0"/>
                        </a:rPr>
                        <a:t>CPI Charter </a:t>
                      </a:r>
                      <a:r>
                        <a:rPr lang="en-US" sz="1400" b="1" kern="1200" dirty="0">
                          <a:solidFill>
                            <a:schemeClr val="tx2"/>
                          </a:solidFill>
                          <a:latin typeface="+mj-lt"/>
                          <a:ea typeface="+mn-ea"/>
                          <a:cs typeface="Calibri" panose="020F0502020204030204" pitchFamily="34" charset="0"/>
                        </a:rPr>
                        <a:t>– </a:t>
                      </a:r>
                      <a:r>
                        <a:rPr lang="en-US" sz="2400" b="1" kern="1200" dirty="0">
                          <a:solidFill>
                            <a:schemeClr val="tx2"/>
                          </a:solidFill>
                          <a:latin typeface="+mj-lt"/>
                          <a:ea typeface="+mn-ea"/>
                          <a:cs typeface="Calibri" panose="020F0502020204030204" pitchFamily="34" charset="0"/>
                        </a:rPr>
                        <a:t> MT NA</a:t>
                      </a:r>
                      <a:endParaRPr lang="en-US" sz="1600" dirty="0">
                        <a:solidFill>
                          <a:schemeClr val="tx2"/>
                        </a:solidFill>
                        <a:latin typeface="+mj-lt"/>
                      </a:endParaRPr>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732627"/>
                  </a:ext>
                </a:extLst>
              </a:tr>
              <a:tr h="475488">
                <a:tc>
                  <a:txBody>
                    <a:bodyPr/>
                    <a:lstStyle/>
                    <a:p>
                      <a:r>
                        <a:rPr lang="en-US" sz="2400" kern="1200" dirty="0">
                          <a:solidFill>
                            <a:schemeClr val="accent4"/>
                          </a:solidFill>
                          <a:latin typeface="+mj-lt"/>
                          <a:ea typeface="+mn-ea"/>
                          <a:cs typeface="Calibri" panose="020F0502020204030204" pitchFamily="34" charset="0"/>
                        </a:rPr>
                        <a:t>Sterilmed ERP Migration</a:t>
                      </a:r>
                      <a:endParaRPr lang="en-US" sz="2400" dirty="0">
                        <a:solidFill>
                          <a:schemeClr val="accent4"/>
                        </a:solidFill>
                        <a:latin typeface="+mj-lt"/>
                      </a:endParaRPr>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1772180"/>
                  </a:ext>
                </a:extLst>
              </a:tr>
            </a:tbl>
          </a:graphicData>
        </a:graphic>
      </p:graphicFrame>
      <p:graphicFrame>
        <p:nvGraphicFramePr>
          <p:cNvPr id="11" name="Table 11">
            <a:extLst>
              <a:ext uri="{FF2B5EF4-FFF2-40B4-BE49-F238E27FC236}">
                <a16:creationId xmlns:a16="http://schemas.microsoft.com/office/drawing/2014/main" id="{0766E7AD-2B33-E4EA-9187-FD3CDBBD3C81}"/>
              </a:ext>
            </a:extLst>
          </p:cNvPr>
          <p:cNvGraphicFramePr>
            <a:graphicFrameLocks noGrp="1"/>
          </p:cNvGraphicFramePr>
          <p:nvPr/>
        </p:nvGraphicFramePr>
        <p:xfrm>
          <a:off x="270341" y="3185929"/>
          <a:ext cx="13970442" cy="2415766"/>
        </p:xfrm>
        <a:graphic>
          <a:graphicData uri="http://schemas.openxmlformats.org/drawingml/2006/table">
            <a:tbl>
              <a:tblPr firstRow="1" bandRow="1">
                <a:tableStyleId>{21E4AEA4-8DFA-4A89-87EB-49C32662AFE0}</a:tableStyleId>
              </a:tblPr>
              <a:tblGrid>
                <a:gridCol w="3212330">
                  <a:extLst>
                    <a:ext uri="{9D8B030D-6E8A-4147-A177-3AD203B41FA5}">
                      <a16:colId xmlns:a16="http://schemas.microsoft.com/office/drawing/2014/main" val="3354796802"/>
                    </a:ext>
                  </a:extLst>
                </a:gridCol>
                <a:gridCol w="2952419">
                  <a:extLst>
                    <a:ext uri="{9D8B030D-6E8A-4147-A177-3AD203B41FA5}">
                      <a16:colId xmlns:a16="http://schemas.microsoft.com/office/drawing/2014/main" val="2357040944"/>
                    </a:ext>
                  </a:extLst>
                </a:gridCol>
                <a:gridCol w="2811780">
                  <a:extLst>
                    <a:ext uri="{9D8B030D-6E8A-4147-A177-3AD203B41FA5}">
                      <a16:colId xmlns:a16="http://schemas.microsoft.com/office/drawing/2014/main" val="3468472159"/>
                    </a:ext>
                  </a:extLst>
                </a:gridCol>
                <a:gridCol w="3138082">
                  <a:extLst>
                    <a:ext uri="{9D8B030D-6E8A-4147-A177-3AD203B41FA5}">
                      <a16:colId xmlns:a16="http://schemas.microsoft.com/office/drawing/2014/main" val="940713179"/>
                    </a:ext>
                  </a:extLst>
                </a:gridCol>
                <a:gridCol w="1855831">
                  <a:extLst>
                    <a:ext uri="{9D8B030D-6E8A-4147-A177-3AD203B41FA5}">
                      <a16:colId xmlns:a16="http://schemas.microsoft.com/office/drawing/2014/main" val="1395574792"/>
                    </a:ext>
                  </a:extLst>
                </a:gridCol>
              </a:tblGrid>
              <a:tr h="310896">
                <a:tc gridSpan="5">
                  <a:txBody>
                    <a:bodyPr/>
                    <a:lstStyle/>
                    <a:p>
                      <a:pPr algn="ctr"/>
                      <a:r>
                        <a:rPr lang="en-US" sz="1300" dirty="0"/>
                        <a:t>Business Processes in Scope</a:t>
                      </a: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194932371"/>
                  </a:ext>
                </a:extLst>
              </a:tr>
              <a:tr h="310896">
                <a:tc>
                  <a:txBody>
                    <a:bodyPr/>
                    <a:lstStyle/>
                    <a:p>
                      <a:pPr algn="l"/>
                      <a:r>
                        <a:rPr lang="en-US" sz="1300" b="1" dirty="0">
                          <a:solidFill>
                            <a:schemeClr val="bg1"/>
                          </a:solidFill>
                        </a:rPr>
                        <a:t>Process Name</a:t>
                      </a:r>
                    </a:p>
                  </a:txBody>
                  <a:tcPr marL="109728" marR="109728" marT="54864" marB="54864">
                    <a:lnL w="12700" cap="flat" cmpd="sng" algn="ctr">
                      <a:solidFill>
                        <a:schemeClr val="tx1"/>
                      </a:solidFill>
                      <a:prstDash val="solid"/>
                      <a:round/>
                      <a:headEnd type="none" w="med" len="med"/>
                      <a:tailEnd type="none" w="med" len="med"/>
                    </a:lnL>
                    <a:solidFill>
                      <a:srgbClr val="333399"/>
                    </a:solidFill>
                  </a:tcPr>
                </a:tc>
                <a:tc>
                  <a:txBody>
                    <a:bodyPr/>
                    <a:lstStyle/>
                    <a:p>
                      <a:pPr algn="l"/>
                      <a:r>
                        <a:rPr lang="en-US" sz="1300" b="1" dirty="0">
                          <a:solidFill>
                            <a:schemeClr val="bg1"/>
                          </a:solidFill>
                        </a:rPr>
                        <a:t>Start / End Boundaries </a:t>
                      </a:r>
                    </a:p>
                  </a:txBody>
                  <a:tcPr marL="109728" marR="109728" marT="54864" marB="54864">
                    <a:solidFill>
                      <a:srgbClr val="333399"/>
                    </a:solidFill>
                  </a:tcPr>
                </a:tc>
                <a:tc>
                  <a:txBody>
                    <a:bodyPr/>
                    <a:lstStyle/>
                    <a:p>
                      <a:pPr algn="l"/>
                      <a:r>
                        <a:rPr lang="en-US" sz="1300" b="1" dirty="0">
                          <a:solidFill>
                            <a:schemeClr val="bg1"/>
                          </a:solidFill>
                        </a:rPr>
                        <a:t>Process Output</a:t>
                      </a:r>
                    </a:p>
                  </a:txBody>
                  <a:tcPr marL="109728" marR="109728" marT="54864" marB="54864">
                    <a:solidFill>
                      <a:srgbClr val="333399"/>
                    </a:solidFill>
                  </a:tcPr>
                </a:tc>
                <a:tc>
                  <a:txBody>
                    <a:bodyPr/>
                    <a:lstStyle/>
                    <a:p>
                      <a:pPr algn="l"/>
                      <a:r>
                        <a:rPr lang="en-US" sz="1300" b="1" dirty="0">
                          <a:solidFill>
                            <a:schemeClr val="bg1"/>
                          </a:solidFill>
                        </a:rPr>
                        <a:t>Primary Customer</a:t>
                      </a:r>
                    </a:p>
                  </a:txBody>
                  <a:tcPr marL="109728" marR="109728" marT="54864" marB="54864">
                    <a:solidFill>
                      <a:srgbClr val="333399"/>
                    </a:solidFill>
                  </a:tcPr>
                </a:tc>
                <a:tc>
                  <a:txBody>
                    <a:bodyPr/>
                    <a:lstStyle/>
                    <a:p>
                      <a:pPr algn="l"/>
                      <a:r>
                        <a:rPr lang="en-US" sz="1300" b="1" dirty="0">
                          <a:solidFill>
                            <a:schemeClr val="bg1"/>
                          </a:solidFill>
                        </a:rPr>
                        <a:t>Key KPI’s</a:t>
                      </a:r>
                    </a:p>
                  </a:txBody>
                  <a:tcPr marL="109728" marR="109728" marT="54864" marB="54864">
                    <a:lnR w="12700" cap="flat" cmpd="sng" algn="ctr">
                      <a:solidFill>
                        <a:schemeClr val="tx1"/>
                      </a:solidFill>
                      <a:prstDash val="solid"/>
                      <a:round/>
                      <a:headEnd type="none" w="med" len="med"/>
                      <a:tailEnd type="none" w="med" len="med"/>
                    </a:lnR>
                    <a:solidFill>
                      <a:srgbClr val="333399"/>
                    </a:solidFill>
                  </a:tcPr>
                </a:tc>
                <a:extLst>
                  <a:ext uri="{0D108BD9-81ED-4DB2-BD59-A6C34878D82A}">
                    <a16:rowId xmlns:a16="http://schemas.microsoft.com/office/drawing/2014/main" val="4134857616"/>
                  </a:ext>
                </a:extLst>
              </a:tr>
              <a:tr h="301752">
                <a:tc>
                  <a:txBody>
                    <a:bodyPr/>
                    <a:lstStyle/>
                    <a:p>
                      <a:pPr algn="ctr"/>
                      <a:r>
                        <a:rPr lang="en-US" sz="1300" dirty="0">
                          <a:solidFill>
                            <a:schemeClr val="tx2"/>
                          </a:solidFill>
                        </a:rPr>
                        <a:t>Pricing and Contracting</a:t>
                      </a:r>
                    </a:p>
                  </a:txBody>
                  <a:tcPr marL="109728" marR="109728" marT="54864" marB="54864" anchor="ctr">
                    <a:lnL w="12700" cap="flat" cmpd="sng" algn="ctr">
                      <a:solidFill>
                        <a:schemeClr val="tx1"/>
                      </a:solidFill>
                      <a:prstDash val="solid"/>
                      <a:round/>
                      <a:headEnd type="none" w="med" len="med"/>
                      <a:tailEnd type="none" w="med" len="med"/>
                    </a:lnL>
                  </a:tcPr>
                </a:tc>
                <a:tc>
                  <a:txBody>
                    <a:bodyPr/>
                    <a:lstStyle/>
                    <a:p>
                      <a:pPr algn="ctr"/>
                      <a:r>
                        <a:rPr lang="en-US" sz="1200" dirty="0">
                          <a:solidFill>
                            <a:sysClr val="windowText" lastClr="000000"/>
                          </a:solidFill>
                          <a:latin typeface="+mn-lt"/>
                        </a:rPr>
                        <a:t>New business / Final agreement</a:t>
                      </a:r>
                    </a:p>
                  </a:txBody>
                  <a:tcPr marL="109728" marR="109728" marT="54864" marB="54864" anchor="ctr"/>
                </a:tc>
                <a:tc>
                  <a:txBody>
                    <a:bodyPr/>
                    <a:lstStyle/>
                    <a:p>
                      <a:pPr algn="ctr"/>
                      <a:r>
                        <a:rPr lang="en-US" sz="1200" dirty="0">
                          <a:solidFill>
                            <a:sysClr val="windowText" lastClr="000000"/>
                          </a:solidFill>
                          <a:latin typeface="+mn-lt"/>
                        </a:rPr>
                        <a:t>Contract and pricing agreement</a:t>
                      </a:r>
                    </a:p>
                  </a:txBody>
                  <a:tcPr marL="109728" marR="109728" marT="54864" marB="54864" anchor="ctr"/>
                </a:tc>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External customer</a:t>
                      </a:r>
                    </a:p>
                  </a:txBody>
                  <a:tcPr marL="109728" marR="109728" marT="54864" marB="54864" anchor="ctr"/>
                </a:tc>
                <a:tc>
                  <a:txBody>
                    <a:bodyPr/>
                    <a:lstStyle/>
                    <a:p>
                      <a:pPr algn="ctr"/>
                      <a:endParaRPr lang="en-US" sz="1300" dirty="0">
                        <a:solidFill>
                          <a:schemeClr val="tx2"/>
                        </a:solidFill>
                      </a:endParaRPr>
                    </a:p>
                  </a:txBody>
                  <a:tcPr marL="109728" marR="109728" marT="54864" marB="54864"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279220"/>
                  </a:ext>
                </a:extLst>
              </a:tr>
              <a:tr h="301752">
                <a:tc>
                  <a:txBody>
                    <a:bodyPr/>
                    <a:lstStyle/>
                    <a:p>
                      <a:pPr algn="ctr"/>
                      <a:r>
                        <a:rPr lang="en-US" sz="1300" dirty="0">
                          <a:solidFill>
                            <a:schemeClr val="tx2"/>
                          </a:solidFill>
                        </a:rPr>
                        <a:t>Devise Reprocessing (WIP &amp; FG Mgmt)</a:t>
                      </a:r>
                    </a:p>
                  </a:txBody>
                  <a:tcPr marL="109728" marR="109728" marT="54864" marB="54864">
                    <a:lnL w="12700" cap="flat" cmpd="sng" algn="ctr">
                      <a:solidFill>
                        <a:schemeClr val="tx1"/>
                      </a:solidFill>
                      <a:prstDash val="solid"/>
                      <a:round/>
                      <a:headEnd type="none" w="med" len="med"/>
                      <a:tailEnd type="none" w="med" len="med"/>
                    </a:lnL>
                  </a:tcPr>
                </a:tc>
                <a:tc>
                  <a:txBody>
                    <a:bodyPr/>
                    <a:lstStyle/>
                    <a:p>
                      <a:pPr algn="ctr"/>
                      <a:r>
                        <a:rPr lang="en-US" sz="1300" dirty="0">
                          <a:solidFill>
                            <a:schemeClr val="tx2"/>
                          </a:solidFill>
                        </a:rPr>
                        <a:t>Collection / FG Inventory Receipt </a:t>
                      </a:r>
                    </a:p>
                  </a:txBody>
                  <a:tcPr marL="109728" marR="109728" marT="54864" marB="54864"/>
                </a:tc>
                <a:tc>
                  <a:txBody>
                    <a:bodyPr/>
                    <a:lstStyle/>
                    <a:p>
                      <a:pPr algn="ctr"/>
                      <a:r>
                        <a:rPr lang="en-US" sz="1300" dirty="0">
                          <a:solidFill>
                            <a:schemeClr val="tx2"/>
                          </a:solidFill>
                        </a:rPr>
                        <a:t>Reprocessed devise available</a:t>
                      </a:r>
                    </a:p>
                  </a:txBody>
                  <a:tcPr marL="109728" marR="109728" marT="54864" marB="54864"/>
                </a:tc>
                <a:tc>
                  <a:txBody>
                    <a:bodyPr/>
                    <a:lstStyle/>
                    <a:p>
                      <a:pPr algn="ctr"/>
                      <a:r>
                        <a:rPr lang="en-US" sz="1300" dirty="0">
                          <a:solidFill>
                            <a:schemeClr val="tx2"/>
                          </a:solidFill>
                        </a:rPr>
                        <a:t>Customer service</a:t>
                      </a:r>
                    </a:p>
                  </a:txBody>
                  <a:tcPr marL="109728" marR="109728" marT="54864" marB="54864"/>
                </a:tc>
                <a:tc>
                  <a:txBody>
                    <a:bodyPr/>
                    <a:lstStyle/>
                    <a:p>
                      <a:pPr algn="ctr"/>
                      <a:endParaRPr lang="en-US" sz="13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504167911"/>
                  </a:ext>
                </a:extLst>
              </a:tr>
              <a:tr h="336155">
                <a:tc>
                  <a:txBody>
                    <a:bodyPr/>
                    <a:lstStyle/>
                    <a:p>
                      <a:pPr algn="ctr"/>
                      <a:r>
                        <a:rPr lang="en-US" sz="1300" dirty="0">
                          <a:solidFill>
                            <a:schemeClr val="tx2"/>
                          </a:solidFill>
                        </a:rPr>
                        <a:t>Order To Cash (OTC)</a:t>
                      </a:r>
                    </a:p>
                  </a:txBody>
                  <a:tcPr marL="109728" marR="109728" marT="54864" marB="54864">
                    <a:lnL w="12700" cap="flat" cmpd="sng" algn="ctr">
                      <a:solidFill>
                        <a:schemeClr val="tx1"/>
                      </a:solidFill>
                      <a:prstDash val="solid"/>
                      <a:round/>
                      <a:headEnd type="none" w="med" len="med"/>
                      <a:tailEnd type="none" w="med" len="med"/>
                    </a:lnL>
                  </a:tcPr>
                </a:tc>
                <a:tc>
                  <a:txBody>
                    <a:bodyPr/>
                    <a:lstStyle/>
                    <a:p>
                      <a:pPr algn="ctr"/>
                      <a:r>
                        <a:rPr lang="en-US" sz="1300" dirty="0">
                          <a:solidFill>
                            <a:schemeClr val="tx2"/>
                          </a:solidFill>
                        </a:rPr>
                        <a:t>Create Quote / Invoice Creation</a:t>
                      </a:r>
                    </a:p>
                  </a:txBody>
                  <a:tcPr marL="109728" marR="109728" marT="54864" marB="54864"/>
                </a:tc>
                <a:tc>
                  <a:txBody>
                    <a:bodyPr/>
                    <a:lstStyle/>
                    <a:p>
                      <a:pPr algn="ctr"/>
                      <a:r>
                        <a:rPr lang="en-US" sz="1300" dirty="0">
                          <a:solidFill>
                            <a:schemeClr val="tx2"/>
                          </a:solidFill>
                        </a:rPr>
                        <a:t>Payment processed</a:t>
                      </a:r>
                    </a:p>
                  </a:txBody>
                  <a:tcPr marL="109728" marR="109728" marT="54864" marB="54864"/>
                </a:tc>
                <a:tc>
                  <a:txBody>
                    <a:bodyPr/>
                    <a:lstStyle/>
                    <a:p>
                      <a:pPr algn="ctr"/>
                      <a:r>
                        <a:rPr lang="en-US" sz="1300" dirty="0">
                          <a:solidFill>
                            <a:schemeClr val="tx2"/>
                          </a:solidFill>
                        </a:rPr>
                        <a:t>External customer</a:t>
                      </a:r>
                    </a:p>
                  </a:txBody>
                  <a:tcPr marL="109728" marR="109728" marT="54864" marB="54864"/>
                </a:tc>
                <a:tc>
                  <a:txBody>
                    <a:bodyPr/>
                    <a:lstStyle/>
                    <a:p>
                      <a:pPr algn="ctr"/>
                      <a:endParaRPr lang="en-US" sz="13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56146352"/>
                  </a:ext>
                </a:extLst>
              </a:tr>
              <a:tr h="336155">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Procure to Pay (P2P) – SC/AP</a:t>
                      </a:r>
                    </a:p>
                  </a:txBody>
                  <a:tcPr marL="109728" marR="109728" marT="54864" marB="54864">
                    <a:lnL w="12700" cap="flat" cmpd="sng" algn="ctr">
                      <a:solidFill>
                        <a:schemeClr val="tx1"/>
                      </a:solidFill>
                      <a:prstDash val="solid"/>
                      <a:round/>
                      <a:headEnd type="none" w="med" len="med"/>
                      <a:tailEnd type="none" w="med" len="med"/>
                    </a:lnL>
                  </a:tcPr>
                </a:tc>
                <a:tc>
                  <a:txBody>
                    <a:bodyPr/>
                    <a:lstStyle/>
                    <a:p>
                      <a:pPr algn="ctr"/>
                      <a:r>
                        <a:rPr lang="en-US" sz="1300" dirty="0">
                          <a:solidFill>
                            <a:schemeClr val="tx2"/>
                          </a:solidFill>
                        </a:rPr>
                        <a:t>Requisitioning / Payment</a:t>
                      </a:r>
                    </a:p>
                  </a:txBody>
                  <a:tcPr marL="109728" marR="109728" marT="54864" marB="54864"/>
                </a:tc>
                <a:tc>
                  <a:txBody>
                    <a:bodyPr/>
                    <a:lstStyle/>
                    <a:p>
                      <a:pPr algn="ctr"/>
                      <a:r>
                        <a:rPr lang="en-US" sz="1300" dirty="0">
                          <a:solidFill>
                            <a:schemeClr val="tx2"/>
                          </a:solidFill>
                        </a:rPr>
                        <a:t>Direct &amp; indirect goods received</a:t>
                      </a:r>
                    </a:p>
                  </a:txBody>
                  <a:tcPr marL="109728" marR="109728" marT="54864" marB="54864"/>
                </a:tc>
                <a:tc>
                  <a:txBody>
                    <a:bodyPr/>
                    <a:lstStyle/>
                    <a:p>
                      <a:pPr algn="ctr"/>
                      <a:r>
                        <a:rPr lang="en-US" sz="1300" dirty="0">
                          <a:solidFill>
                            <a:schemeClr val="tx2"/>
                          </a:solidFill>
                        </a:rPr>
                        <a:t>Reprocessing &amp; support functions</a:t>
                      </a:r>
                    </a:p>
                  </a:txBody>
                  <a:tcPr marL="109728" marR="109728" marT="54864" marB="54864"/>
                </a:tc>
                <a:tc>
                  <a:txBody>
                    <a:bodyPr/>
                    <a:lstStyle/>
                    <a:p>
                      <a:pPr algn="ctr"/>
                      <a:endParaRPr lang="en-US" sz="13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789136362"/>
                  </a:ext>
                </a:extLst>
              </a:tr>
              <a:tr h="336155">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rPr>
                        <a:t>MDM (customer/supplier)</a:t>
                      </a:r>
                    </a:p>
                  </a:txBody>
                  <a:tcPr marL="109728" marR="109728" marT="54864" marB="54864">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300" dirty="0">
                          <a:solidFill>
                            <a:schemeClr val="tx2"/>
                          </a:solidFill>
                        </a:rPr>
                        <a:t>Set up / maintain / deactivate</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r>
                        <a:rPr lang="en-US" sz="1300" dirty="0">
                          <a:solidFill>
                            <a:schemeClr val="tx2"/>
                          </a:solidFill>
                        </a:rPr>
                        <a:t>Accurate and complete master data</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endParaRPr lang="en-US" sz="1300" dirty="0">
                        <a:solidFill>
                          <a:schemeClr val="tx2"/>
                        </a:solidFill>
                      </a:endParaRP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endParaRPr lang="en-US" sz="1300" dirty="0">
                        <a:solidFill>
                          <a:schemeClr val="tx2"/>
                        </a:solidFill>
                      </a:endParaRPr>
                    </a:p>
                  </a:txBody>
                  <a:tcPr marL="109728" marR="109728" marT="54864" marB="54864">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3670583"/>
                  </a:ext>
                </a:extLst>
              </a:tr>
            </a:tbl>
          </a:graphicData>
        </a:graphic>
      </p:graphicFrame>
    </p:spTree>
    <p:extLst>
      <p:ext uri="{BB962C8B-B14F-4D97-AF65-F5344CB8AC3E}">
        <p14:creationId xmlns:p14="http://schemas.microsoft.com/office/powerpoint/2010/main" val="42608238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1">
            <a:extLst>
              <a:ext uri="{FF2B5EF4-FFF2-40B4-BE49-F238E27FC236}">
                <a16:creationId xmlns:a16="http://schemas.microsoft.com/office/drawing/2014/main" id="{0766E7AD-2B33-E4EA-9187-FD3CDBBD3C81}"/>
              </a:ext>
            </a:extLst>
          </p:cNvPr>
          <p:cNvGraphicFramePr>
            <a:graphicFrameLocks noGrp="1"/>
          </p:cNvGraphicFramePr>
          <p:nvPr/>
        </p:nvGraphicFramePr>
        <p:xfrm>
          <a:off x="806410" y="1171663"/>
          <a:ext cx="13017581" cy="5742432"/>
        </p:xfrm>
        <a:graphic>
          <a:graphicData uri="http://schemas.openxmlformats.org/drawingml/2006/table">
            <a:tbl>
              <a:tblPr firstRow="1" bandRow="1">
                <a:tableStyleId>{85BE263C-DBD7-4A20-BB59-AAB30ACAA65A}</a:tableStyleId>
              </a:tblPr>
              <a:tblGrid>
                <a:gridCol w="3108371">
                  <a:extLst>
                    <a:ext uri="{9D8B030D-6E8A-4147-A177-3AD203B41FA5}">
                      <a16:colId xmlns:a16="http://schemas.microsoft.com/office/drawing/2014/main" val="3354796802"/>
                    </a:ext>
                  </a:extLst>
                </a:gridCol>
                <a:gridCol w="2338450">
                  <a:extLst>
                    <a:ext uri="{9D8B030D-6E8A-4147-A177-3AD203B41FA5}">
                      <a16:colId xmlns:a16="http://schemas.microsoft.com/office/drawing/2014/main" val="3879903465"/>
                    </a:ext>
                  </a:extLst>
                </a:gridCol>
                <a:gridCol w="2455338">
                  <a:extLst>
                    <a:ext uri="{9D8B030D-6E8A-4147-A177-3AD203B41FA5}">
                      <a16:colId xmlns:a16="http://schemas.microsoft.com/office/drawing/2014/main" val="1566500658"/>
                    </a:ext>
                  </a:extLst>
                </a:gridCol>
                <a:gridCol w="2557711">
                  <a:extLst>
                    <a:ext uri="{9D8B030D-6E8A-4147-A177-3AD203B41FA5}">
                      <a16:colId xmlns:a16="http://schemas.microsoft.com/office/drawing/2014/main" val="3468472159"/>
                    </a:ext>
                  </a:extLst>
                </a:gridCol>
                <a:gridCol w="2557711">
                  <a:extLst>
                    <a:ext uri="{9D8B030D-6E8A-4147-A177-3AD203B41FA5}">
                      <a16:colId xmlns:a16="http://schemas.microsoft.com/office/drawing/2014/main" val="3403490016"/>
                    </a:ext>
                  </a:extLst>
                </a:gridCol>
              </a:tblGrid>
              <a:tr h="402336">
                <a:tc gridSpan="5">
                  <a:txBody>
                    <a:bodyPr/>
                    <a:lstStyle/>
                    <a:p>
                      <a:pPr algn="ctr"/>
                      <a:r>
                        <a:rPr lang="en-US" sz="1900" dirty="0"/>
                        <a:t>Business Processes in Scope / SMEs</a:t>
                      </a:r>
                      <a:endParaRPr lang="en-US" sz="1900" dirty="0">
                        <a:latin typeface="+mn-lt"/>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dirty="0"/>
                    </a:p>
                  </a:txBody>
                  <a:tcPr>
                    <a:lnL w="12700" cap="flat" cmpd="sng" algn="ctr">
                      <a:solidFill>
                        <a:schemeClr val="tx1"/>
                      </a:solidFill>
                      <a:prstDash val="solid"/>
                      <a:round/>
                      <a:headEnd type="none" w="med" len="med"/>
                      <a:tailEnd type="none" w="med" len="med"/>
                    </a:lnL>
                  </a:tcPr>
                </a:tc>
                <a:tc hMerge="1">
                  <a:txBody>
                    <a:bodyPr/>
                    <a:lstStyle/>
                    <a:p>
                      <a:pPr algn="ctr"/>
                      <a:endParaRPr lang="en-US" sz="14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94932371"/>
                  </a:ext>
                </a:extLst>
              </a:tr>
              <a:tr h="329184">
                <a:tc>
                  <a:txBody>
                    <a:bodyPr/>
                    <a:lstStyle/>
                    <a:p>
                      <a:pPr algn="l"/>
                      <a:r>
                        <a:rPr lang="en-US" sz="1400" b="1" dirty="0">
                          <a:solidFill>
                            <a:sysClr val="windowText" lastClr="000000"/>
                          </a:solidFill>
                          <a:latin typeface="+mn-lt"/>
                        </a:rPr>
                        <a:t>Process Area</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solidFill>
                            <a:sysClr val="windowText" lastClr="000000"/>
                          </a:solidFill>
                          <a:latin typeface="+mn-lt"/>
                        </a:rPr>
                        <a:t>Start Boundary</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ysClr val="windowText" lastClr="000000"/>
                          </a:solidFill>
                          <a:latin typeface="+mn-lt"/>
                        </a:rPr>
                        <a:t>End Boundary</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r>
                        <a:rPr lang="en-US" sz="1400" b="1" dirty="0">
                          <a:solidFill>
                            <a:sysClr val="windowText" lastClr="000000"/>
                          </a:solidFill>
                          <a:latin typeface="+mn-lt"/>
                        </a:rPr>
                        <a:t>Key Contact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endParaRPr lang="en-US" sz="1400" b="1" dirty="0">
                        <a:solidFill>
                          <a:sysClr val="windowText" lastClr="000000"/>
                        </a:solidFill>
                        <a:latin typeface="+mn-lt"/>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4857616"/>
                  </a:ext>
                </a:extLst>
              </a:tr>
              <a:tr h="310896">
                <a:tc>
                  <a:txBody>
                    <a:bodyPr/>
                    <a:lstStyle/>
                    <a:p>
                      <a:pPr algn="l"/>
                      <a:r>
                        <a:rPr lang="en-US" sz="1300" dirty="0">
                          <a:solidFill>
                            <a:sysClr val="windowText" lastClr="000000"/>
                          </a:solidFill>
                          <a:latin typeface="+mn-lt"/>
                        </a:rPr>
                        <a:t>Pricing and Contracting</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New busines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Final agreemen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effectLst/>
                          <a:latin typeface="+mn-lt"/>
                          <a:ea typeface="+mn-ea"/>
                          <a:cs typeface="+mn-cs"/>
                        </a:rPr>
                        <a:t>Julie Steibl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3"/>
                        </a:rPr>
                        <a:t>jsteibl@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6152697"/>
                  </a:ext>
                </a:extLst>
              </a:tr>
              <a:tr h="713232">
                <a:tc>
                  <a:txBody>
                    <a:bodyPr/>
                    <a:lstStyle/>
                    <a:p>
                      <a:pPr algn="l"/>
                      <a:r>
                        <a:rPr lang="en-US" sz="1300" dirty="0">
                          <a:solidFill>
                            <a:sysClr val="windowText" lastClr="000000"/>
                          </a:solidFill>
                          <a:latin typeface="+mn-lt"/>
                        </a:rPr>
                        <a:t>Devise reprocessing (WIP &amp; FG Mgmt) – perhaps just the integration with Jabil system</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Dirty device collection</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Released to FG inventory </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dirty="0">
                          <a:solidFill>
                            <a:sysClr val="windowText" lastClr="000000"/>
                          </a:solidFill>
                          <a:latin typeface="+mn-lt"/>
                        </a:rPr>
                        <a:t>Jabil – Brad Geis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4"/>
                        </a:rPr>
                        <a:t>bgeiss@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0732066"/>
                  </a:ext>
                </a:extLst>
              </a:tr>
              <a:tr h="713232">
                <a:tc>
                  <a:txBody>
                    <a:bodyPr/>
                    <a:lstStyle/>
                    <a:p>
                      <a:pPr algn="l"/>
                      <a:r>
                        <a:rPr lang="en-US" sz="1300" dirty="0">
                          <a:solidFill>
                            <a:sysClr val="windowText" lastClr="000000"/>
                          </a:solidFill>
                          <a:latin typeface="+mn-lt"/>
                        </a:rPr>
                        <a:t>OTI – Quote creation (dependent on # collected from facilities each week or from inventory)</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Customer demand received</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Customer accepts quot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kern="1200" dirty="0">
                          <a:solidFill>
                            <a:sysClr val="windowText" lastClr="000000"/>
                          </a:solidFill>
                          <a:latin typeface="+mn-lt"/>
                          <a:ea typeface="+mn-ea"/>
                          <a:cs typeface="+mn-cs"/>
                        </a:rPr>
                        <a:t>Crystal King</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5"/>
                        </a:rPr>
                        <a:t>cking31@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4167911"/>
                  </a:ext>
                </a:extLst>
              </a:tr>
              <a:tr h="310896">
                <a:tc>
                  <a:txBody>
                    <a:bodyPr/>
                    <a:lstStyle/>
                    <a:p>
                      <a:pPr algn="l"/>
                      <a:r>
                        <a:rPr lang="en-US" sz="1300" dirty="0">
                          <a:solidFill>
                            <a:sysClr val="windowText" lastClr="000000"/>
                          </a:solidFill>
                          <a:latin typeface="+mn-lt"/>
                        </a:rPr>
                        <a:t>OTI – SO creation</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Customer quote acceptanc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Order creation</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Crystal King</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5"/>
                        </a:rPr>
                        <a:t>cking31@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9942083"/>
                  </a:ext>
                </a:extLst>
              </a:tr>
              <a:tr h="512064">
                <a:tc>
                  <a:txBody>
                    <a:bodyPr/>
                    <a:lstStyle/>
                    <a:p>
                      <a:pPr algn="l"/>
                      <a:r>
                        <a:rPr lang="en-US" sz="1300" dirty="0">
                          <a:solidFill>
                            <a:sysClr val="windowText" lastClr="000000"/>
                          </a:solidFill>
                          <a:latin typeface="+mn-lt"/>
                        </a:rPr>
                        <a:t>OTI – Order fulfillmen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Order receip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Delivery</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Brad Geiss, Crystal King</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4"/>
                        </a:rPr>
                        <a:t>bgeiss@its.jnj.com</a:t>
                      </a:r>
                      <a:r>
                        <a:rPr lang="en-US" sz="1300" b="0" i="0" u="sng" strike="noStrike" dirty="0">
                          <a:solidFill>
                            <a:srgbClr val="0563C1"/>
                          </a:solidFill>
                          <a:effectLst/>
                          <a:latin typeface="Calibri" panose="020F0502020204030204" pitchFamily="34" charset="0"/>
                        </a:rPr>
                        <a:t> cking31@its.jnj.com</a:t>
                      </a:r>
                      <a:endParaRPr lang="en-US" sz="1300" b="0" i="0" u="none" strike="noStrike" dirty="0">
                        <a:solidFill>
                          <a:srgbClr val="000000"/>
                        </a:solidFill>
                        <a:effectLst/>
                        <a:latin typeface="+mn-lt"/>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9136362"/>
                  </a:ext>
                </a:extLst>
              </a:tr>
              <a:tr h="512064">
                <a:tc>
                  <a:txBody>
                    <a:bodyPr/>
                    <a:lstStyle/>
                    <a:p>
                      <a:pPr algn="l"/>
                      <a:r>
                        <a:rPr lang="en-US" sz="1300" dirty="0">
                          <a:solidFill>
                            <a:sysClr val="windowText" lastClr="000000"/>
                          </a:solidFill>
                          <a:latin typeface="+mn-lt"/>
                        </a:rPr>
                        <a:t>ITC – Invoice to cash - AR</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Invoice creation</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Invoice clearanc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Zack Devoti, Laura Peterson</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6"/>
                        </a:rPr>
                        <a:t>zdevoti@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7"/>
                        </a:rPr>
                        <a:t>lpeter26@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0950428"/>
                  </a:ext>
                </a:extLst>
              </a:tr>
              <a:tr h="713232">
                <a:tc>
                  <a:txBody>
                    <a:bodyPr/>
                    <a:lstStyle/>
                    <a:p>
                      <a:pPr algn="l"/>
                      <a:r>
                        <a:rPr lang="en-US" sz="1300" dirty="0">
                          <a:solidFill>
                            <a:sysClr val="windowText" lastClr="000000"/>
                          </a:solidFill>
                          <a:latin typeface="+mn-lt"/>
                        </a:rPr>
                        <a:t>Procurement – SC </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lang="en-US" sz="1300" dirty="0">
                          <a:solidFill>
                            <a:schemeClr val="tx2"/>
                          </a:solidFill>
                          <a:latin typeface="+mn-lt"/>
                        </a:rPr>
                        <a:t>Requisitioning</a:t>
                      </a:r>
                      <a:endParaRPr lang="en-US" sz="1300" dirty="0">
                        <a:solidFill>
                          <a:sysClr val="windowText" lastClr="000000"/>
                        </a:solidFill>
                        <a:latin typeface="+mn-lt"/>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Goods receip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Brad Geiss, Rose McDonough, Robert Johnson</a:t>
                      </a:r>
                      <a:endParaRPr lang="en-US" sz="1300" dirty="0">
                        <a:solidFill>
                          <a:sysClr val="windowText" lastClr="000000"/>
                        </a:solidFill>
                        <a:latin typeface="+mn-lt"/>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4"/>
                        </a:rPr>
                        <a:t>bgeiss@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8"/>
                        </a:rPr>
                        <a:t>rmcdono@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9"/>
                        </a:rPr>
                        <a:t>rjohns98@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8754473"/>
                  </a:ext>
                </a:extLst>
              </a:tr>
              <a:tr h="512064">
                <a:tc>
                  <a:txBody>
                    <a:bodyPr/>
                    <a:lstStyle/>
                    <a:p>
                      <a:pPr algn="l"/>
                      <a:r>
                        <a:rPr lang="en-US" sz="1300" dirty="0">
                          <a:solidFill>
                            <a:sysClr val="windowText" lastClr="000000"/>
                          </a:solidFill>
                          <a:latin typeface="+mn-lt"/>
                        </a:rPr>
                        <a:t>Procurement - AP</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Goods receip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Paymen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effectLst/>
                          <a:latin typeface="+mn-lt"/>
                          <a:ea typeface="+mn-ea"/>
                          <a:cs typeface="+mn-cs"/>
                        </a:rPr>
                        <a:t>   Zack Devoti, Laura Peterson</a:t>
                      </a:r>
                    </a:p>
                  </a:txBody>
                  <a:tcPr marL="7620" marR="7620" marT="7620" marB="5486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6"/>
                        </a:rPr>
                        <a:t>zdevoti@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auto"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7"/>
                        </a:rPr>
                        <a:t>lpeter26@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1519000"/>
                  </a:ext>
                </a:extLst>
              </a:tr>
              <a:tr h="713232">
                <a:tc>
                  <a:txBody>
                    <a:bodyPr/>
                    <a:lstStyle/>
                    <a:p>
                      <a:pPr algn="l"/>
                      <a:r>
                        <a:rPr lang="en-US" sz="1300" dirty="0">
                          <a:solidFill>
                            <a:sysClr val="windowText" lastClr="000000"/>
                          </a:solidFill>
                          <a:latin typeface="+mn-lt"/>
                        </a:rPr>
                        <a:t>MDM (Customers/Supplier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Set up</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a:solidFill>
                            <a:sysClr val="windowText" lastClr="000000"/>
                          </a:solidFill>
                          <a:latin typeface="+mn-lt"/>
                        </a:rPr>
                        <a:t>Deactivat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300" dirty="0">
                          <a:solidFill>
                            <a:sysClr val="windowText" lastClr="000000"/>
                          </a:solidFill>
                          <a:latin typeface="+mn-lt"/>
                        </a:rPr>
                        <a:t>Julie Steible, Crystal King, Brad Geis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288036" rtl="0" eaLnBrk="1" fontAlgn="b"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3"/>
                        </a:rPr>
                        <a:t>jsteibl@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b"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5"/>
                        </a:rPr>
                        <a:t>cking31@its.jnj.com</a:t>
                      </a:r>
                      <a:endParaRPr lang="en-US" sz="1300" b="0" i="0" u="sng" strike="noStrike" dirty="0">
                        <a:solidFill>
                          <a:srgbClr val="0563C1"/>
                        </a:solidFill>
                        <a:effectLst/>
                        <a:latin typeface="Calibri" panose="020F0502020204030204" pitchFamily="34" charset="0"/>
                      </a:endParaRPr>
                    </a:p>
                    <a:p>
                      <a:pPr marL="0" marR="0" lvl="0" indent="0" algn="l" defTabSz="288036" rtl="0" eaLnBrk="1" fontAlgn="b" latinLnBrk="0" hangingPunct="1">
                        <a:lnSpc>
                          <a:spcPct val="100000"/>
                        </a:lnSpc>
                        <a:spcBef>
                          <a:spcPts val="0"/>
                        </a:spcBef>
                        <a:spcAft>
                          <a:spcPts val="0"/>
                        </a:spcAft>
                        <a:buClrTx/>
                        <a:buSzTx/>
                        <a:buFontTx/>
                        <a:buNone/>
                        <a:tabLst/>
                        <a:defRPr/>
                      </a:pPr>
                      <a:r>
                        <a:rPr lang="en-US" sz="1300" b="0" i="0" u="sng" strike="noStrike" dirty="0">
                          <a:solidFill>
                            <a:srgbClr val="0563C1"/>
                          </a:solidFill>
                          <a:effectLst/>
                          <a:latin typeface="Calibri" panose="020F0502020204030204" pitchFamily="34" charset="0"/>
                          <a:hlinkClick r:id="rId4"/>
                        </a:rPr>
                        <a:t>bgeiss@its.jnj.com</a:t>
                      </a:r>
                      <a:endParaRPr lang="en-US" sz="1300" b="0" i="0" u="sng" strike="noStrike" dirty="0">
                        <a:solidFill>
                          <a:srgbClr val="0563C1"/>
                        </a:solidFill>
                        <a:effectLst/>
                        <a:latin typeface="Calibri" panose="020F0502020204030204" pitchFamily="34" charset="0"/>
                      </a:endParaRP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0419513"/>
                  </a:ext>
                </a:extLst>
              </a:tr>
            </a:tbl>
          </a:graphicData>
        </a:graphic>
      </p:graphicFrame>
      <p:sp>
        <p:nvSpPr>
          <p:cNvPr id="5" name="TextBox 4">
            <a:extLst>
              <a:ext uri="{FF2B5EF4-FFF2-40B4-BE49-F238E27FC236}">
                <a16:creationId xmlns:a16="http://schemas.microsoft.com/office/drawing/2014/main" id="{2ABFD3D7-E256-910B-A5A2-7055C803C153}"/>
              </a:ext>
            </a:extLst>
          </p:cNvPr>
          <p:cNvSpPr txBox="1"/>
          <p:nvPr/>
        </p:nvSpPr>
        <p:spPr>
          <a:xfrm>
            <a:off x="6405053" y="134534"/>
            <a:ext cx="7948901" cy="757130"/>
          </a:xfrm>
          <a:prstGeom prst="rect">
            <a:avLst/>
          </a:prstGeom>
          <a:noFill/>
        </p:spPr>
        <p:txBody>
          <a:bodyPr wrap="square" rtlCol="0">
            <a:spAutoFit/>
          </a:bodyPr>
          <a:lstStyle/>
          <a:p>
            <a:pPr marL="342900" indent="-342900" defTabSz="1097280" fontAlgn="auto">
              <a:spcBef>
                <a:spcPts val="0"/>
              </a:spcBef>
              <a:spcAft>
                <a:spcPts val="0"/>
              </a:spcAft>
              <a:buFont typeface="Arial" panose="020B0604020202020204" pitchFamily="34" charset="0"/>
              <a:buChar char="•"/>
              <a:defRPr/>
            </a:pPr>
            <a:r>
              <a:rPr lang="en-US" sz="1440" b="1" i="1" dirty="0">
                <a:solidFill>
                  <a:srgbClr val="C00000"/>
                </a:solidFill>
                <a:latin typeface="Arial"/>
                <a:ea typeface="ヒラギノ角ゴ ProN W3"/>
              </a:rPr>
              <a:t>Availability of Core Team and SMEs is a critical success factor for CPI Engagements.</a:t>
            </a:r>
          </a:p>
          <a:p>
            <a:pPr marL="342900" indent="-342900" defTabSz="1097280" fontAlgn="auto">
              <a:spcBef>
                <a:spcPts val="0"/>
              </a:spcBef>
              <a:spcAft>
                <a:spcPts val="0"/>
              </a:spcAft>
              <a:buFont typeface="Arial" panose="020B0604020202020204" pitchFamily="34" charset="0"/>
              <a:buChar char="•"/>
              <a:defRPr/>
            </a:pPr>
            <a:r>
              <a:rPr lang="en-US" sz="1440" b="1" i="1" dirty="0">
                <a:solidFill>
                  <a:srgbClr val="C00000"/>
                </a:solidFill>
                <a:latin typeface="Arial"/>
                <a:ea typeface="ヒラギノ角ゴ ProN W3"/>
              </a:rPr>
              <a:t>Identifying SMEs and obtaining their commitment to participate is a primary aspect of the Project Champion role.</a:t>
            </a:r>
          </a:p>
        </p:txBody>
      </p:sp>
    </p:spTree>
    <p:extLst>
      <p:ext uri="{BB962C8B-B14F-4D97-AF65-F5344CB8AC3E}">
        <p14:creationId xmlns:p14="http://schemas.microsoft.com/office/powerpoint/2010/main" val="15687640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6E006AB5-8707-8646-B9B6-A380DF7996FF}"/>
              </a:ext>
            </a:extLst>
          </p:cNvPr>
          <p:cNvGraphicFramePr>
            <a:graphicFrameLocks noGrp="1"/>
          </p:cNvGraphicFramePr>
          <p:nvPr/>
        </p:nvGraphicFramePr>
        <p:xfrm>
          <a:off x="4376928" y="390145"/>
          <a:ext cx="9823793" cy="601909"/>
        </p:xfrm>
        <a:graphic>
          <a:graphicData uri="http://schemas.openxmlformats.org/drawingml/2006/table">
            <a:tbl>
              <a:tblPr firstCol="1" bandRow="1">
                <a:tableStyleId>{21E4AEA4-8DFA-4A89-87EB-49C32662AFE0}</a:tableStyleId>
              </a:tblPr>
              <a:tblGrid>
                <a:gridCol w="1994915">
                  <a:extLst>
                    <a:ext uri="{9D8B030D-6E8A-4147-A177-3AD203B41FA5}">
                      <a16:colId xmlns:a16="http://schemas.microsoft.com/office/drawing/2014/main" val="123260567"/>
                    </a:ext>
                  </a:extLst>
                </a:gridCol>
                <a:gridCol w="7828878">
                  <a:extLst>
                    <a:ext uri="{9D8B030D-6E8A-4147-A177-3AD203B41FA5}">
                      <a16:colId xmlns:a16="http://schemas.microsoft.com/office/drawing/2014/main" val="1819922604"/>
                    </a:ext>
                  </a:extLst>
                </a:gridCol>
              </a:tblGrid>
              <a:tr h="601909">
                <a:tc>
                  <a:txBody>
                    <a:bodyPr/>
                    <a:lstStyle/>
                    <a:p>
                      <a:pPr algn="ctr"/>
                      <a:r>
                        <a:rPr lang="en-US" sz="1300" u="none" dirty="0">
                          <a:solidFill>
                            <a:schemeClr val="bg1"/>
                          </a:solidFill>
                        </a:rPr>
                        <a:t>Business Case ($)</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solidFill>
                            <a:schemeClr val="tx2"/>
                          </a:solidFill>
                        </a:rPr>
                        <a:t>Impact to sales – growth rate (Ale will research)</a:t>
                      </a:r>
                    </a:p>
                    <a:p>
                      <a:r>
                        <a:rPr lang="en-US" sz="1600" dirty="0">
                          <a:solidFill>
                            <a:schemeClr val="tx2"/>
                          </a:solidFill>
                        </a:rPr>
                        <a:t>Elimination of manual processes – efficiency gains (?capacity expansion) </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7380580"/>
                  </a:ext>
                </a:extLst>
              </a:tr>
            </a:tbl>
          </a:graphicData>
        </a:graphic>
      </p:graphicFrame>
      <p:graphicFrame>
        <p:nvGraphicFramePr>
          <p:cNvPr id="3" name="Table 3">
            <a:extLst>
              <a:ext uri="{FF2B5EF4-FFF2-40B4-BE49-F238E27FC236}">
                <a16:creationId xmlns:a16="http://schemas.microsoft.com/office/drawing/2014/main" id="{6472FAE7-501C-258D-B5A7-D8EB3F2AD600}"/>
              </a:ext>
            </a:extLst>
          </p:cNvPr>
          <p:cNvGraphicFramePr>
            <a:graphicFrameLocks noGrp="1"/>
          </p:cNvGraphicFramePr>
          <p:nvPr/>
        </p:nvGraphicFramePr>
        <p:xfrm>
          <a:off x="400215" y="1060848"/>
          <a:ext cx="13829970" cy="1463040"/>
        </p:xfrm>
        <a:graphic>
          <a:graphicData uri="http://schemas.openxmlformats.org/drawingml/2006/table">
            <a:tbl>
              <a:tblPr firstRow="1" bandRow="1">
                <a:tableStyleId>{21E4AEA4-8DFA-4A89-87EB-49C32662AFE0}</a:tableStyleId>
              </a:tblPr>
              <a:tblGrid>
                <a:gridCol w="2105771">
                  <a:extLst>
                    <a:ext uri="{9D8B030D-6E8A-4147-A177-3AD203B41FA5}">
                      <a16:colId xmlns:a16="http://schemas.microsoft.com/office/drawing/2014/main" val="2457599776"/>
                    </a:ext>
                  </a:extLst>
                </a:gridCol>
                <a:gridCol w="1845649">
                  <a:extLst>
                    <a:ext uri="{9D8B030D-6E8A-4147-A177-3AD203B41FA5}">
                      <a16:colId xmlns:a16="http://schemas.microsoft.com/office/drawing/2014/main" val="2241382603"/>
                    </a:ext>
                  </a:extLst>
                </a:gridCol>
                <a:gridCol w="1975710">
                  <a:extLst>
                    <a:ext uri="{9D8B030D-6E8A-4147-A177-3AD203B41FA5}">
                      <a16:colId xmlns:a16="http://schemas.microsoft.com/office/drawing/2014/main" val="342414566"/>
                    </a:ext>
                  </a:extLst>
                </a:gridCol>
                <a:gridCol w="1975710">
                  <a:extLst>
                    <a:ext uri="{9D8B030D-6E8A-4147-A177-3AD203B41FA5}">
                      <a16:colId xmlns:a16="http://schemas.microsoft.com/office/drawing/2014/main" val="1396353758"/>
                    </a:ext>
                  </a:extLst>
                </a:gridCol>
                <a:gridCol w="1975710">
                  <a:extLst>
                    <a:ext uri="{9D8B030D-6E8A-4147-A177-3AD203B41FA5}">
                      <a16:colId xmlns:a16="http://schemas.microsoft.com/office/drawing/2014/main" val="756000030"/>
                    </a:ext>
                  </a:extLst>
                </a:gridCol>
                <a:gridCol w="1888055">
                  <a:extLst>
                    <a:ext uri="{9D8B030D-6E8A-4147-A177-3AD203B41FA5}">
                      <a16:colId xmlns:a16="http://schemas.microsoft.com/office/drawing/2014/main" val="931368071"/>
                    </a:ext>
                  </a:extLst>
                </a:gridCol>
                <a:gridCol w="2063365">
                  <a:extLst>
                    <a:ext uri="{9D8B030D-6E8A-4147-A177-3AD203B41FA5}">
                      <a16:colId xmlns:a16="http://schemas.microsoft.com/office/drawing/2014/main" val="2535142962"/>
                    </a:ext>
                  </a:extLst>
                </a:gridCol>
              </a:tblGrid>
              <a:tr h="833933">
                <a:tc>
                  <a:txBody>
                    <a:bodyPr/>
                    <a:lstStyle/>
                    <a:p>
                      <a:r>
                        <a:rPr lang="en-US" sz="1600" dirty="0"/>
                        <a:t>Expected Realization Timeline</a:t>
                      </a:r>
                    </a:p>
                  </a:txBody>
                  <a:tcPr marL="109728" marR="109728" marT="54864" marB="54864">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600" dirty="0"/>
                        <a:t>2023</a:t>
                      </a:r>
                    </a:p>
                  </a:txBody>
                  <a:tcPr marL="109728" marR="109728" marT="54864" marB="54864">
                    <a:lnT w="12700" cap="flat" cmpd="sng" algn="ctr">
                      <a:solidFill>
                        <a:schemeClr val="tx1"/>
                      </a:solidFill>
                      <a:prstDash val="solid"/>
                      <a:round/>
                      <a:headEnd type="none" w="med" len="med"/>
                      <a:tailEnd type="none" w="med" len="med"/>
                    </a:lnT>
                  </a:tcPr>
                </a:tc>
                <a:tc>
                  <a:txBody>
                    <a:bodyPr/>
                    <a:lstStyle/>
                    <a:p>
                      <a:pPr algn="ctr"/>
                      <a:r>
                        <a:rPr lang="en-US" sz="1600" dirty="0"/>
                        <a:t>2024</a:t>
                      </a:r>
                    </a:p>
                  </a:txBody>
                  <a:tcPr marL="109728" marR="109728" marT="54864" marB="54864">
                    <a:lnT w="12700" cap="flat" cmpd="sng" algn="ctr">
                      <a:solidFill>
                        <a:schemeClr val="tx1"/>
                      </a:solidFill>
                      <a:prstDash val="solid"/>
                      <a:round/>
                      <a:headEnd type="none" w="med" len="med"/>
                      <a:tailEnd type="none" w="med" len="med"/>
                    </a:lnT>
                  </a:tcPr>
                </a:tc>
                <a:tc>
                  <a:txBody>
                    <a:bodyPr/>
                    <a:lstStyle/>
                    <a:p>
                      <a:pPr algn="ctr"/>
                      <a:r>
                        <a:rPr lang="en-US" sz="1600" dirty="0"/>
                        <a:t>2025</a:t>
                      </a:r>
                    </a:p>
                  </a:txBody>
                  <a:tcPr marL="109728" marR="109728" marT="54864" marB="54864">
                    <a:lnT w="12700" cap="flat" cmpd="sng" algn="ctr">
                      <a:solidFill>
                        <a:schemeClr val="tx1"/>
                      </a:solidFill>
                      <a:prstDash val="solid"/>
                      <a:round/>
                      <a:headEnd type="none" w="med" len="med"/>
                      <a:tailEnd type="none" w="med" len="med"/>
                    </a:lnT>
                  </a:tcPr>
                </a:tc>
                <a:tc>
                  <a:txBody>
                    <a:bodyPr/>
                    <a:lstStyle/>
                    <a:p>
                      <a:pPr algn="ctr"/>
                      <a:r>
                        <a:rPr lang="en-US" sz="1600" dirty="0"/>
                        <a:t>2026</a:t>
                      </a:r>
                    </a:p>
                  </a:txBody>
                  <a:tcPr marL="109728" marR="109728" marT="54864" marB="54864">
                    <a:lnT w="12700" cap="flat" cmpd="sng" algn="ctr">
                      <a:solidFill>
                        <a:schemeClr val="tx1"/>
                      </a:solidFill>
                      <a:prstDash val="solid"/>
                      <a:round/>
                      <a:headEnd type="none" w="med" len="med"/>
                      <a:tailEnd type="none" w="med" len="med"/>
                    </a:lnT>
                  </a:tcPr>
                </a:tc>
                <a:tc>
                  <a:txBody>
                    <a:bodyPr/>
                    <a:lstStyle/>
                    <a:p>
                      <a:pPr algn="ctr"/>
                      <a:r>
                        <a:rPr lang="en-US" sz="1600" dirty="0"/>
                        <a:t>2027</a:t>
                      </a:r>
                    </a:p>
                  </a:txBody>
                  <a:tcPr marL="109728" marR="109728" marT="54864" marB="54864">
                    <a:lnT w="12700" cap="flat" cmpd="sng" algn="ctr">
                      <a:solidFill>
                        <a:schemeClr val="tx1"/>
                      </a:solidFill>
                      <a:prstDash val="solid"/>
                      <a:round/>
                      <a:headEnd type="none" w="med" len="med"/>
                      <a:tailEnd type="none" w="med" len="med"/>
                    </a:lnT>
                  </a:tcPr>
                </a:tc>
                <a:tc>
                  <a:txBody>
                    <a:bodyPr/>
                    <a:lstStyle/>
                    <a:p>
                      <a:pPr algn="ctr"/>
                      <a:r>
                        <a:rPr lang="en-US" sz="1600" dirty="0"/>
                        <a:t>Total</a:t>
                      </a:r>
                    </a:p>
                  </a:txBody>
                  <a:tcPr marL="109728" marR="109728" marT="54864" marB="54864">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1278509"/>
                  </a:ext>
                </a:extLst>
              </a:tr>
              <a:tr h="310896">
                <a:tc>
                  <a:txBody>
                    <a:bodyPr/>
                    <a:lstStyle/>
                    <a:p>
                      <a:pPr algn="ctr"/>
                      <a:r>
                        <a:rPr lang="en-US" sz="1300" b="1" dirty="0">
                          <a:ln>
                            <a:noFill/>
                          </a:ln>
                          <a:solidFill>
                            <a:schemeClr val="tx2"/>
                          </a:solidFill>
                        </a:rPr>
                        <a:t>White $</a:t>
                      </a:r>
                    </a:p>
                  </a:txBody>
                  <a:tcPr marL="109728" marR="109728" marT="54864" marB="54864">
                    <a:lnL w="12700" cap="flat" cmpd="sng" algn="ctr">
                      <a:solidFill>
                        <a:schemeClr val="tx1"/>
                      </a:solidFill>
                      <a:prstDash val="solid"/>
                      <a:round/>
                      <a:headEnd type="none" w="med" len="med"/>
                      <a:tailEnd type="none" w="med" len="med"/>
                    </a:lnL>
                    <a:solidFill>
                      <a:srgbClr val="CDCDDE"/>
                    </a:solidFill>
                  </a:tcPr>
                </a:tc>
                <a:tc>
                  <a:txBody>
                    <a:bodyPr/>
                    <a:lstStyle/>
                    <a:p>
                      <a:pPr algn="ctr"/>
                      <a:r>
                        <a:rPr lang="en-US" sz="1300" b="1" dirty="0">
                          <a:ln>
                            <a:noFill/>
                          </a:ln>
                          <a:solidFill>
                            <a:schemeClr val="tx2"/>
                          </a:solidFill>
                        </a:rPr>
                        <a:t>$</a:t>
                      </a:r>
                    </a:p>
                  </a:txBody>
                  <a:tcPr marL="109728" marR="109728" marT="54864" marB="54864">
                    <a:solidFill>
                      <a:srgbClr val="CDCDDE"/>
                    </a:solidFill>
                  </a:tcPr>
                </a:tc>
                <a:tc>
                  <a:txBody>
                    <a:bodyPr/>
                    <a:lstStyle/>
                    <a:p>
                      <a:pPr algn="ctr"/>
                      <a:r>
                        <a:rPr lang="en-US" sz="1300" b="1" dirty="0">
                          <a:ln>
                            <a:noFill/>
                          </a:ln>
                          <a:solidFill>
                            <a:schemeClr val="tx2"/>
                          </a:solidFill>
                        </a:rPr>
                        <a:t>$</a:t>
                      </a:r>
                    </a:p>
                  </a:txBody>
                  <a:tcPr marL="109728" marR="109728" marT="54864" marB="54864">
                    <a:solidFill>
                      <a:srgbClr val="CDCDDE"/>
                    </a:solidFill>
                  </a:tcPr>
                </a:tc>
                <a:tc>
                  <a:txBody>
                    <a:bodyPr/>
                    <a:lstStyle/>
                    <a:p>
                      <a:pPr algn="ctr"/>
                      <a:r>
                        <a:rPr lang="en-US" sz="1300" b="1" dirty="0">
                          <a:ln>
                            <a:noFill/>
                          </a:ln>
                          <a:solidFill>
                            <a:schemeClr val="tx2"/>
                          </a:solidFill>
                        </a:rPr>
                        <a:t>$</a:t>
                      </a:r>
                    </a:p>
                  </a:txBody>
                  <a:tcPr marL="109728" marR="109728" marT="54864" marB="54864">
                    <a:solidFill>
                      <a:srgbClr val="CDCDDE"/>
                    </a:solidFill>
                  </a:tcPr>
                </a:tc>
                <a:tc>
                  <a:txBody>
                    <a:bodyPr/>
                    <a:lstStyle/>
                    <a:p>
                      <a:pPr algn="ctr"/>
                      <a:r>
                        <a:rPr lang="en-US" sz="1300" b="1" dirty="0">
                          <a:ln>
                            <a:noFill/>
                          </a:ln>
                          <a:solidFill>
                            <a:schemeClr val="tx2"/>
                          </a:solidFill>
                        </a:rPr>
                        <a:t>$</a:t>
                      </a:r>
                    </a:p>
                  </a:txBody>
                  <a:tcPr marL="109728" marR="109728" marT="54864" marB="54864">
                    <a:solidFill>
                      <a:srgbClr val="CDCDDE"/>
                    </a:solidFill>
                  </a:tcPr>
                </a:tc>
                <a:tc>
                  <a:txBody>
                    <a:bodyPr/>
                    <a:lstStyle/>
                    <a:p>
                      <a:pPr algn="ctr"/>
                      <a:r>
                        <a:rPr lang="en-US" sz="1300" b="1" dirty="0">
                          <a:ln>
                            <a:noFill/>
                          </a:ln>
                          <a:solidFill>
                            <a:schemeClr val="tx2"/>
                          </a:solidFill>
                        </a:rPr>
                        <a:t>$</a:t>
                      </a:r>
                    </a:p>
                  </a:txBody>
                  <a:tcPr marL="109728" marR="109728" marT="54864" marB="54864">
                    <a:solidFill>
                      <a:srgbClr val="CDCDDE"/>
                    </a:solidFill>
                  </a:tcPr>
                </a:tc>
                <a:tc>
                  <a:txBody>
                    <a:bodyPr/>
                    <a:lstStyle/>
                    <a:p>
                      <a:pPr algn="ctr"/>
                      <a:r>
                        <a:rPr lang="en-US" sz="1300" b="1" dirty="0">
                          <a:ln>
                            <a:noFill/>
                          </a:ln>
                          <a:solidFill>
                            <a:schemeClr val="tx2"/>
                          </a:solidFill>
                        </a:rPr>
                        <a:t>$</a:t>
                      </a:r>
                    </a:p>
                  </a:txBody>
                  <a:tcPr marL="109728" marR="109728" marT="54864" marB="54864">
                    <a:lnR w="12700" cap="flat" cmpd="sng" algn="ctr">
                      <a:solidFill>
                        <a:schemeClr val="tx1"/>
                      </a:solidFill>
                      <a:prstDash val="solid"/>
                      <a:round/>
                      <a:headEnd type="none" w="med" len="med"/>
                      <a:tailEnd type="none" w="med" len="med"/>
                    </a:lnR>
                    <a:solidFill>
                      <a:srgbClr val="CDCDDE"/>
                    </a:solidFill>
                  </a:tcPr>
                </a:tc>
                <a:extLst>
                  <a:ext uri="{0D108BD9-81ED-4DB2-BD59-A6C34878D82A}">
                    <a16:rowId xmlns:a16="http://schemas.microsoft.com/office/drawing/2014/main" val="291344256"/>
                  </a:ext>
                </a:extLst>
              </a:tr>
              <a:tr h="310896">
                <a:tc>
                  <a:txBody>
                    <a:bodyPr/>
                    <a:lstStyle/>
                    <a:p>
                      <a:pPr algn="ctr"/>
                      <a:r>
                        <a:rPr lang="en-US" sz="1300" b="1" dirty="0">
                          <a:ln>
                            <a:noFill/>
                          </a:ln>
                          <a:solidFill>
                            <a:srgbClr val="00B050"/>
                          </a:solidFill>
                        </a:rPr>
                        <a:t>Green $</a:t>
                      </a:r>
                    </a:p>
                  </a:txBody>
                  <a:tcPr marL="109728" marR="109728" marT="54864" marB="54864">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300" b="1" dirty="0">
                          <a:ln>
                            <a:noFill/>
                          </a:ln>
                          <a:solidFill>
                            <a:srgbClr val="00B050"/>
                          </a:solidFill>
                        </a:rPr>
                        <a:t>$</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r>
                        <a:rPr lang="en-US" sz="1300" b="1" dirty="0">
                          <a:ln>
                            <a:noFill/>
                          </a:ln>
                          <a:solidFill>
                            <a:srgbClr val="00B050"/>
                          </a:solidFill>
                        </a:rPr>
                        <a:t>$</a:t>
                      </a:r>
                    </a:p>
                  </a:txBody>
                  <a:tcPr marL="109728" marR="109728" marT="54864" marB="54864">
                    <a:lnB w="12700" cap="flat" cmpd="sng" algn="ctr">
                      <a:solidFill>
                        <a:schemeClr val="tx1"/>
                      </a:solidFill>
                      <a:prstDash val="solid"/>
                      <a:round/>
                      <a:headEnd type="none" w="med" len="med"/>
                      <a:tailEnd type="none" w="med" len="med"/>
                    </a:lnB>
                    <a:solidFill>
                      <a:srgbClr val="E8E8EF"/>
                    </a:solidFill>
                  </a:tcPr>
                </a:tc>
                <a:tc>
                  <a:txBody>
                    <a:bodyPr/>
                    <a:lstStyle/>
                    <a:p>
                      <a:pPr algn="ctr"/>
                      <a:r>
                        <a:rPr lang="en-US" sz="1300" b="1" dirty="0">
                          <a:ln>
                            <a:noFill/>
                          </a:ln>
                          <a:solidFill>
                            <a:srgbClr val="00B050"/>
                          </a:solidFill>
                        </a:rPr>
                        <a:t>$</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r>
                        <a:rPr lang="en-US" sz="1300" b="1" dirty="0">
                          <a:ln>
                            <a:noFill/>
                          </a:ln>
                          <a:solidFill>
                            <a:srgbClr val="00B050"/>
                          </a:solidFill>
                        </a:rPr>
                        <a:t>$</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r>
                        <a:rPr lang="en-US" sz="1300" b="1" dirty="0">
                          <a:ln>
                            <a:noFill/>
                          </a:ln>
                          <a:solidFill>
                            <a:srgbClr val="00B050"/>
                          </a:solidFill>
                        </a:rPr>
                        <a:t>$</a:t>
                      </a:r>
                    </a:p>
                  </a:txBody>
                  <a:tcPr marL="109728" marR="109728" marT="54864" marB="54864">
                    <a:lnB w="12700" cap="flat" cmpd="sng" algn="ctr">
                      <a:solidFill>
                        <a:schemeClr val="tx1"/>
                      </a:solidFill>
                      <a:prstDash val="solid"/>
                      <a:round/>
                      <a:headEnd type="none" w="med" len="med"/>
                      <a:tailEnd type="none" w="med" len="med"/>
                    </a:lnB>
                  </a:tcPr>
                </a:tc>
                <a:tc>
                  <a:txBody>
                    <a:bodyPr/>
                    <a:lstStyle/>
                    <a:p>
                      <a:pPr algn="ctr"/>
                      <a:r>
                        <a:rPr lang="en-US" sz="1300" b="1" dirty="0">
                          <a:ln>
                            <a:noFill/>
                          </a:ln>
                          <a:solidFill>
                            <a:srgbClr val="00B050"/>
                          </a:solidFill>
                        </a:rPr>
                        <a:t>$</a:t>
                      </a:r>
                    </a:p>
                  </a:txBody>
                  <a:tcPr marL="109728" marR="109728" marT="54864" marB="54864">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4084936"/>
                  </a:ext>
                </a:extLst>
              </a:tr>
            </a:tbl>
          </a:graphicData>
        </a:graphic>
      </p:graphicFrame>
      <p:graphicFrame>
        <p:nvGraphicFramePr>
          <p:cNvPr id="4" name="Table 3">
            <a:extLst>
              <a:ext uri="{FF2B5EF4-FFF2-40B4-BE49-F238E27FC236}">
                <a16:creationId xmlns:a16="http://schemas.microsoft.com/office/drawing/2014/main" id="{621AB17F-10FE-B36B-4E5E-F9EB04A8B2CC}"/>
              </a:ext>
            </a:extLst>
          </p:cNvPr>
          <p:cNvGraphicFramePr>
            <a:graphicFrameLocks noGrp="1"/>
          </p:cNvGraphicFramePr>
          <p:nvPr/>
        </p:nvGraphicFramePr>
        <p:xfrm>
          <a:off x="416583" y="6148696"/>
          <a:ext cx="13856937" cy="1482181"/>
        </p:xfrm>
        <a:graphic>
          <a:graphicData uri="http://schemas.openxmlformats.org/drawingml/2006/table">
            <a:tbl>
              <a:tblPr firstRow="1" firstCol="1">
                <a:tableStyleId>{93296810-A885-4BE3-A3E7-6D5BEEA58F35}</a:tableStyleId>
              </a:tblPr>
              <a:tblGrid>
                <a:gridCol w="3280889">
                  <a:extLst>
                    <a:ext uri="{9D8B030D-6E8A-4147-A177-3AD203B41FA5}">
                      <a16:colId xmlns:a16="http://schemas.microsoft.com/office/drawing/2014/main" val="1661163902"/>
                    </a:ext>
                  </a:extLst>
                </a:gridCol>
                <a:gridCol w="1792076">
                  <a:extLst>
                    <a:ext uri="{9D8B030D-6E8A-4147-A177-3AD203B41FA5}">
                      <a16:colId xmlns:a16="http://schemas.microsoft.com/office/drawing/2014/main" val="2791022389"/>
                    </a:ext>
                  </a:extLst>
                </a:gridCol>
                <a:gridCol w="532523">
                  <a:extLst>
                    <a:ext uri="{9D8B030D-6E8A-4147-A177-3AD203B41FA5}">
                      <a16:colId xmlns:a16="http://schemas.microsoft.com/office/drawing/2014/main" val="1507593984"/>
                    </a:ext>
                  </a:extLst>
                </a:gridCol>
                <a:gridCol w="535384">
                  <a:extLst>
                    <a:ext uri="{9D8B030D-6E8A-4147-A177-3AD203B41FA5}">
                      <a16:colId xmlns:a16="http://schemas.microsoft.com/office/drawing/2014/main" val="2171842197"/>
                    </a:ext>
                  </a:extLst>
                </a:gridCol>
                <a:gridCol w="601219">
                  <a:extLst>
                    <a:ext uri="{9D8B030D-6E8A-4147-A177-3AD203B41FA5}">
                      <a16:colId xmlns:a16="http://schemas.microsoft.com/office/drawing/2014/main" val="3842736171"/>
                    </a:ext>
                  </a:extLst>
                </a:gridCol>
                <a:gridCol w="564008">
                  <a:extLst>
                    <a:ext uri="{9D8B030D-6E8A-4147-A177-3AD203B41FA5}">
                      <a16:colId xmlns:a16="http://schemas.microsoft.com/office/drawing/2014/main" val="2299407205"/>
                    </a:ext>
                  </a:extLst>
                </a:gridCol>
                <a:gridCol w="589769">
                  <a:extLst>
                    <a:ext uri="{9D8B030D-6E8A-4147-A177-3AD203B41FA5}">
                      <a16:colId xmlns:a16="http://schemas.microsoft.com/office/drawing/2014/main" val="3809748164"/>
                    </a:ext>
                  </a:extLst>
                </a:gridCol>
                <a:gridCol w="532523">
                  <a:extLst>
                    <a:ext uri="{9D8B030D-6E8A-4147-A177-3AD203B41FA5}">
                      <a16:colId xmlns:a16="http://schemas.microsoft.com/office/drawing/2014/main" val="2920453771"/>
                    </a:ext>
                  </a:extLst>
                </a:gridCol>
                <a:gridCol w="509623">
                  <a:extLst>
                    <a:ext uri="{9D8B030D-6E8A-4147-A177-3AD203B41FA5}">
                      <a16:colId xmlns:a16="http://schemas.microsoft.com/office/drawing/2014/main" val="2050523909"/>
                    </a:ext>
                  </a:extLst>
                </a:gridCol>
                <a:gridCol w="586906">
                  <a:extLst>
                    <a:ext uri="{9D8B030D-6E8A-4147-A177-3AD203B41FA5}">
                      <a16:colId xmlns:a16="http://schemas.microsoft.com/office/drawing/2014/main" val="1962071438"/>
                    </a:ext>
                  </a:extLst>
                </a:gridCol>
                <a:gridCol w="538246">
                  <a:extLst>
                    <a:ext uri="{9D8B030D-6E8A-4147-A177-3AD203B41FA5}">
                      <a16:colId xmlns:a16="http://schemas.microsoft.com/office/drawing/2014/main" val="982859527"/>
                    </a:ext>
                  </a:extLst>
                </a:gridCol>
                <a:gridCol w="564008">
                  <a:extLst>
                    <a:ext uri="{9D8B030D-6E8A-4147-A177-3AD203B41FA5}">
                      <a16:colId xmlns:a16="http://schemas.microsoft.com/office/drawing/2014/main" val="1005818232"/>
                    </a:ext>
                  </a:extLst>
                </a:gridCol>
                <a:gridCol w="575456">
                  <a:extLst>
                    <a:ext uri="{9D8B030D-6E8A-4147-A177-3AD203B41FA5}">
                      <a16:colId xmlns:a16="http://schemas.microsoft.com/office/drawing/2014/main" val="2963894556"/>
                    </a:ext>
                  </a:extLst>
                </a:gridCol>
                <a:gridCol w="564008">
                  <a:extLst>
                    <a:ext uri="{9D8B030D-6E8A-4147-A177-3AD203B41FA5}">
                      <a16:colId xmlns:a16="http://schemas.microsoft.com/office/drawing/2014/main" val="2722678922"/>
                    </a:ext>
                  </a:extLst>
                </a:gridCol>
                <a:gridCol w="2090299">
                  <a:extLst>
                    <a:ext uri="{9D8B030D-6E8A-4147-A177-3AD203B41FA5}">
                      <a16:colId xmlns:a16="http://schemas.microsoft.com/office/drawing/2014/main" val="3014825775"/>
                    </a:ext>
                  </a:extLst>
                </a:gridCol>
              </a:tblGrid>
              <a:tr h="494629">
                <a:tc>
                  <a:txBody>
                    <a:bodyPr/>
                    <a:lstStyle/>
                    <a:p>
                      <a:pPr algn="ctr" fontAlgn="b"/>
                      <a:r>
                        <a:rPr lang="en-US" sz="1300" b="1" i="0" u="none" strike="noStrike" cap="none" baseline="0" dirty="0">
                          <a:solidFill>
                            <a:schemeClr val="accent3"/>
                          </a:solidFill>
                          <a:effectLst/>
                          <a:latin typeface="+mn-lt"/>
                          <a:cs typeface="Calibri"/>
                        </a:rPr>
                        <a:t>Resource Time Allocation </a:t>
                      </a:r>
                    </a:p>
                  </a:txBody>
                  <a:tcPr marL="10519" marR="10519" marT="10519" marB="10973"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solidFill>
                  </a:tcPr>
                </a:tc>
                <a:tc>
                  <a:txBody>
                    <a:bodyPr/>
                    <a:lstStyle/>
                    <a:p>
                      <a:pPr marL="0" marR="0" lvl="0" indent="0" algn="ctr" defTabSz="288036" rtl="0" eaLnBrk="1" fontAlgn="b" latinLnBrk="0" hangingPunct="1">
                        <a:lnSpc>
                          <a:spcPct val="100000"/>
                        </a:lnSpc>
                        <a:spcBef>
                          <a:spcPts val="0"/>
                        </a:spcBef>
                        <a:spcAft>
                          <a:spcPts val="0"/>
                        </a:spcAft>
                        <a:buClrTx/>
                        <a:buSzTx/>
                        <a:buFontTx/>
                        <a:buNone/>
                        <a:tabLst/>
                        <a:defRPr/>
                      </a:pPr>
                      <a:r>
                        <a:rPr lang="en-US" sz="1300" u="none" strike="noStrike" cap="small" baseline="0" dirty="0">
                          <a:solidFill>
                            <a:schemeClr val="bg1"/>
                          </a:solidFill>
                          <a:effectLst/>
                          <a:latin typeface="+mn-lt"/>
                          <a:cs typeface="Calibri"/>
                        </a:rPr>
                        <a:t>T</a:t>
                      </a:r>
                      <a:r>
                        <a:rPr lang="en-US" sz="1300" u="none" strike="noStrike" cap="none" baseline="0" dirty="0">
                          <a:solidFill>
                            <a:schemeClr val="bg1"/>
                          </a:solidFill>
                          <a:effectLst/>
                          <a:latin typeface="+mn-lt"/>
                          <a:cs typeface="Calibri"/>
                        </a:rPr>
                        <a:t>otal Hours</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Jan</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Feb</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Mar</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Apr</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May</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Jun</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Jul</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Aug</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Sep</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Oct</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Nov</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algn="ctr" fontAlgn="b"/>
                      <a:r>
                        <a:rPr lang="en-US" sz="1300" u="none" strike="noStrike" cap="small" baseline="0" dirty="0">
                          <a:solidFill>
                            <a:schemeClr val="bg1"/>
                          </a:solidFill>
                          <a:effectLst/>
                          <a:latin typeface="+mn-lt"/>
                          <a:cs typeface="Calibri"/>
                        </a:rPr>
                        <a:t>Dec</a:t>
                      </a:r>
                      <a:endParaRPr lang="en-US" sz="1300" b="1" i="0" u="none" strike="noStrike" cap="small" baseline="0" dirty="0">
                        <a:solidFill>
                          <a:schemeClr val="bg1"/>
                        </a:solidFill>
                        <a:effectLst/>
                        <a:latin typeface="+mn-lt"/>
                        <a:cs typeface="Calibri"/>
                      </a:endParaRPr>
                    </a:p>
                  </a:txBody>
                  <a:tcPr marL="10519" marR="10519" marT="10519" marB="10973" anchor="ctr">
                    <a:lnT w="12700" cap="flat" cmpd="sng" algn="ctr">
                      <a:solidFill>
                        <a:schemeClr val="tx1"/>
                      </a:solidFill>
                      <a:prstDash val="solid"/>
                      <a:round/>
                      <a:headEnd type="none" w="med" len="med"/>
                      <a:tailEnd type="none" w="med" len="med"/>
                    </a:lnT>
                    <a:solidFill>
                      <a:schemeClr val="accent2"/>
                    </a:solidFill>
                  </a:tcPr>
                </a:tc>
                <a:tc>
                  <a:txBody>
                    <a:bodyPr/>
                    <a:lstStyle/>
                    <a:p>
                      <a:pPr marL="0" marR="0" lvl="0" indent="0" algn="ctr" defTabSz="288036" rtl="0" eaLnBrk="1" fontAlgn="b" latinLnBrk="0" hangingPunct="1">
                        <a:lnSpc>
                          <a:spcPct val="100000"/>
                        </a:lnSpc>
                        <a:spcBef>
                          <a:spcPts val="0"/>
                        </a:spcBef>
                        <a:spcAft>
                          <a:spcPts val="0"/>
                        </a:spcAft>
                        <a:buClrTx/>
                        <a:buSzTx/>
                        <a:buFontTx/>
                        <a:buNone/>
                        <a:tabLst/>
                        <a:defRPr/>
                      </a:pPr>
                      <a:r>
                        <a:rPr lang="en-US" sz="1300" u="none" strike="noStrike" cap="none" baseline="0" dirty="0">
                          <a:solidFill>
                            <a:schemeClr val="bg1"/>
                          </a:solidFill>
                          <a:effectLst/>
                          <a:latin typeface="+mn-lt"/>
                          <a:cs typeface="Calibri"/>
                        </a:rPr>
                        <a:t>Travel $$</a:t>
                      </a:r>
                      <a:endParaRPr lang="en-US" sz="1300" b="1" i="0" u="none" strike="noStrike" cap="none" baseline="0" dirty="0">
                        <a:solidFill>
                          <a:schemeClr val="bg1"/>
                        </a:solidFill>
                        <a:effectLst/>
                        <a:latin typeface="+mn-lt"/>
                        <a:cs typeface="Calibri"/>
                      </a:endParaRPr>
                    </a:p>
                  </a:txBody>
                  <a:tcPr marL="10519" marR="10519" marT="10519" marB="10973"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912256584"/>
                  </a:ext>
                </a:extLst>
              </a:tr>
              <a:tr h="329184">
                <a:tc>
                  <a:txBody>
                    <a:bodyPr/>
                    <a:lstStyle/>
                    <a:p>
                      <a:pPr algn="ctr" fontAlgn="b"/>
                      <a:r>
                        <a:rPr lang="en-US" sz="1300" b="1" i="0" u="none" strike="noStrike" cap="none" baseline="0" dirty="0">
                          <a:solidFill>
                            <a:schemeClr val="bg1"/>
                          </a:solidFill>
                          <a:effectLst/>
                          <a:latin typeface="+mn-lt"/>
                          <a:cs typeface="Calibri" panose="020F0502020204030204" pitchFamily="34" charset="0"/>
                        </a:rPr>
                        <a:t>Troy Engel</a:t>
                      </a:r>
                    </a:p>
                  </a:txBody>
                  <a:tcPr marL="54864" marR="10519" marT="32918" marB="32918" anchor="ctr">
                    <a:lnL w="12700" cap="flat" cmpd="sng" algn="ctr">
                      <a:solidFill>
                        <a:schemeClr val="tx1"/>
                      </a:solidFill>
                      <a:prstDash val="solid"/>
                      <a:round/>
                      <a:headEnd type="none" w="med" len="med"/>
                      <a:tailEnd type="none" w="med" len="med"/>
                    </a:lnL>
                    <a:solidFill>
                      <a:schemeClr val="accent2"/>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360</a:t>
                      </a:r>
                    </a:p>
                  </a:txBody>
                  <a:tcPr marL="10519" marR="10519" marT="32918" marB="32918" anchor="ctr">
                    <a:solidFill>
                      <a:srgbClr val="CDCDDE"/>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40</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176</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144</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a:rPr>
                        <a:t>$2,500</a:t>
                      </a:r>
                    </a:p>
                  </a:txBody>
                  <a:tcPr marL="10519" marR="10519" marT="10519" marB="10973" anchor="ctr">
                    <a:lnR w="12700" cap="flat" cmpd="sng" algn="ctr">
                      <a:solidFill>
                        <a:schemeClr val="tx1"/>
                      </a:solidFill>
                      <a:prstDash val="solid"/>
                      <a:round/>
                      <a:headEnd type="none" w="med" len="med"/>
                      <a:tailEnd type="none" w="med" len="med"/>
                    </a:lnR>
                    <a:solidFill>
                      <a:srgbClr val="CDCDDE"/>
                    </a:solidFill>
                  </a:tcPr>
                </a:tc>
                <a:extLst>
                  <a:ext uri="{0D108BD9-81ED-4DB2-BD59-A6C34878D82A}">
                    <a16:rowId xmlns:a16="http://schemas.microsoft.com/office/drawing/2014/main" val="1202503025"/>
                  </a:ext>
                </a:extLst>
              </a:tr>
              <a:tr h="329184">
                <a:tc>
                  <a:txBody>
                    <a:bodyPr/>
                    <a:lstStyle/>
                    <a:p>
                      <a:pPr algn="ctr" fontAlgn="b"/>
                      <a:r>
                        <a:rPr lang="en-US" sz="1300" b="1" i="0" u="none" strike="noStrike" cap="none" baseline="0" dirty="0">
                          <a:solidFill>
                            <a:schemeClr val="bg1"/>
                          </a:solidFill>
                          <a:effectLst/>
                          <a:latin typeface="+mn-lt"/>
                          <a:cs typeface="Calibri" panose="020F0502020204030204" pitchFamily="34" charset="0"/>
                        </a:rPr>
                        <a:t>Workshop support</a:t>
                      </a:r>
                    </a:p>
                  </a:txBody>
                  <a:tcPr marL="54864" marR="10519" marT="32918" marB="32918" anchor="ctr">
                    <a:lnL w="12700" cap="flat" cmpd="sng" algn="ctr">
                      <a:solidFill>
                        <a:schemeClr val="tx1"/>
                      </a:solidFill>
                      <a:prstDash val="solid"/>
                      <a:round/>
                      <a:headEnd type="none" w="med" len="med"/>
                      <a:tailEnd type="none" w="med" len="med"/>
                    </a:lnL>
                    <a:solidFill>
                      <a:schemeClr val="accent2"/>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40</a:t>
                      </a:r>
                    </a:p>
                  </a:txBody>
                  <a:tcPr marL="10519" marR="10519" marT="32918" marB="32918" anchor="ctr">
                    <a:solidFill>
                      <a:srgbClr val="CDCDDE"/>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32918" marB="32918"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40</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a:t>
                      </a:r>
                    </a:p>
                  </a:txBody>
                  <a:tcPr marL="10519" marR="10519" marT="10519" marB="10973" anchor="ctr">
                    <a:solidFill>
                      <a:srgbClr val="E8E8EF"/>
                    </a:solidFill>
                  </a:tcPr>
                </a:tc>
                <a:tc>
                  <a:txBody>
                    <a:bodyPr/>
                    <a:lstStyle/>
                    <a:p>
                      <a:pPr algn="ctr" fontAlgn="b"/>
                      <a:r>
                        <a:rPr lang="en-US" sz="1300" b="0" i="0" u="none" strike="noStrike" dirty="0">
                          <a:solidFill>
                            <a:schemeClr val="tx2"/>
                          </a:solidFill>
                          <a:effectLst/>
                          <a:latin typeface="+mn-lt"/>
                          <a:cs typeface="Calibri"/>
                        </a:rPr>
                        <a:t>$2,500</a:t>
                      </a:r>
                    </a:p>
                  </a:txBody>
                  <a:tcPr marL="10519" marR="10519" marT="10519" marB="10973" anchor="ctr">
                    <a:lnR w="12700" cap="flat" cmpd="sng" algn="ctr">
                      <a:solidFill>
                        <a:schemeClr val="tx1"/>
                      </a:solidFill>
                      <a:prstDash val="solid"/>
                      <a:round/>
                      <a:headEnd type="none" w="med" len="med"/>
                      <a:tailEnd type="none" w="med" len="med"/>
                    </a:lnR>
                    <a:solidFill>
                      <a:srgbClr val="CDCDDE"/>
                    </a:solidFill>
                  </a:tcPr>
                </a:tc>
                <a:extLst>
                  <a:ext uri="{0D108BD9-81ED-4DB2-BD59-A6C34878D82A}">
                    <a16:rowId xmlns:a16="http://schemas.microsoft.com/office/drawing/2014/main" val="2817029857"/>
                  </a:ext>
                </a:extLst>
              </a:tr>
              <a:tr h="329184">
                <a:tc>
                  <a:txBody>
                    <a:bodyPr/>
                    <a:lstStyle/>
                    <a:p>
                      <a:pPr algn="ctr" fontAlgn="b"/>
                      <a:r>
                        <a:rPr lang="en-US" sz="1300" b="1" i="0" u="none" strike="noStrike" cap="none" baseline="0" dirty="0">
                          <a:solidFill>
                            <a:schemeClr val="bg1"/>
                          </a:solidFill>
                          <a:effectLst/>
                          <a:latin typeface="+mn-lt"/>
                          <a:cs typeface="Calibri" panose="020F0502020204030204" pitchFamily="34" charset="0"/>
                        </a:rPr>
                        <a:t>  TOTAL</a:t>
                      </a:r>
                    </a:p>
                  </a:txBody>
                  <a:tcPr marL="54864" marR="10519" marT="32918" marB="329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en-US" sz="1300" b="0" i="0" u="none" strike="noStrike" dirty="0">
                          <a:solidFill>
                            <a:schemeClr val="tx2"/>
                          </a:solidFill>
                          <a:effectLst/>
                          <a:latin typeface="+mn-lt"/>
                          <a:cs typeface="Calibri" panose="020F0502020204030204" pitchFamily="34" charset="0"/>
                        </a:rPr>
                        <a:t>400</a:t>
                      </a:r>
                    </a:p>
                  </a:txBody>
                  <a:tcPr marL="10519" marR="10519" marT="32918" marB="32918" anchor="ctr">
                    <a:lnB w="12700" cap="flat" cmpd="sng" algn="ctr">
                      <a:solidFill>
                        <a:schemeClr val="tx1"/>
                      </a:solidFill>
                      <a:prstDash val="solid"/>
                      <a:round/>
                      <a:headEnd type="none" w="med" len="med"/>
                      <a:tailEnd type="none" w="med" len="med"/>
                    </a:lnB>
                    <a:solidFill>
                      <a:srgbClr val="CDCDDE"/>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32918" marB="32918"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32918" marB="32918"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32918" marB="32918"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32918" marB="32918"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32918" marB="32918"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endParaRPr lang="en-US" sz="1300" b="0" i="0" u="none" strike="noStrike" dirty="0">
                        <a:solidFill>
                          <a:schemeClr val="tx2"/>
                        </a:solidFill>
                        <a:effectLst/>
                        <a:latin typeface="+mn-lt"/>
                        <a:cs typeface="Calibri" panose="020F0502020204030204" pitchFamily="34" charset="0"/>
                      </a:endParaRPr>
                    </a:p>
                  </a:txBody>
                  <a:tcPr marL="10519" marR="10519" marT="10519" marB="10973" anchor="ctr">
                    <a:lnB w="12700" cap="flat" cmpd="sng" algn="ctr">
                      <a:solidFill>
                        <a:schemeClr val="tx1"/>
                      </a:solidFill>
                      <a:prstDash val="solid"/>
                      <a:round/>
                      <a:headEnd type="none" w="med" len="med"/>
                      <a:tailEnd type="none" w="med" len="med"/>
                    </a:lnB>
                    <a:solidFill>
                      <a:srgbClr val="E8E8EF"/>
                    </a:solidFill>
                  </a:tcPr>
                </a:tc>
                <a:tc>
                  <a:txBody>
                    <a:bodyPr/>
                    <a:lstStyle/>
                    <a:p>
                      <a:pPr algn="ctr" fontAlgn="b"/>
                      <a:r>
                        <a:rPr lang="en-US" sz="1300" b="0" i="0" u="none" strike="noStrike" dirty="0">
                          <a:solidFill>
                            <a:schemeClr val="tx2"/>
                          </a:solidFill>
                          <a:effectLst/>
                          <a:latin typeface="+mn-lt"/>
                          <a:cs typeface="Calibri"/>
                        </a:rPr>
                        <a:t>$ 5,000</a:t>
                      </a:r>
                    </a:p>
                  </a:txBody>
                  <a:tcPr marL="10519" marR="10519" marT="10519" marB="10973"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DCDDE"/>
                    </a:solidFill>
                  </a:tcPr>
                </a:tc>
                <a:extLst>
                  <a:ext uri="{0D108BD9-81ED-4DB2-BD59-A6C34878D82A}">
                    <a16:rowId xmlns:a16="http://schemas.microsoft.com/office/drawing/2014/main" val="3088316722"/>
                  </a:ext>
                </a:extLst>
              </a:tr>
            </a:tbl>
          </a:graphicData>
        </a:graphic>
      </p:graphicFrame>
      <p:graphicFrame>
        <p:nvGraphicFramePr>
          <p:cNvPr id="9" name="Table 9">
            <a:extLst>
              <a:ext uri="{FF2B5EF4-FFF2-40B4-BE49-F238E27FC236}">
                <a16:creationId xmlns:a16="http://schemas.microsoft.com/office/drawing/2014/main" id="{0B754FDB-EAE9-CD89-7174-2F363D9A3EB4}"/>
              </a:ext>
            </a:extLst>
          </p:cNvPr>
          <p:cNvGraphicFramePr>
            <a:graphicFrameLocks noGrp="1"/>
          </p:cNvGraphicFramePr>
          <p:nvPr/>
        </p:nvGraphicFramePr>
        <p:xfrm>
          <a:off x="411286" y="5579014"/>
          <a:ext cx="4537088" cy="440507"/>
        </p:xfrm>
        <a:graphic>
          <a:graphicData uri="http://schemas.openxmlformats.org/drawingml/2006/table">
            <a:tbl>
              <a:tblPr firstCol="1" bandRow="1">
                <a:tableStyleId>{21E4AEA4-8DFA-4A89-87EB-49C32662AFE0}</a:tableStyleId>
              </a:tblPr>
              <a:tblGrid>
                <a:gridCol w="2268544">
                  <a:extLst>
                    <a:ext uri="{9D8B030D-6E8A-4147-A177-3AD203B41FA5}">
                      <a16:colId xmlns:a16="http://schemas.microsoft.com/office/drawing/2014/main" val="2220404095"/>
                    </a:ext>
                  </a:extLst>
                </a:gridCol>
                <a:gridCol w="2268544">
                  <a:extLst>
                    <a:ext uri="{9D8B030D-6E8A-4147-A177-3AD203B41FA5}">
                      <a16:colId xmlns:a16="http://schemas.microsoft.com/office/drawing/2014/main" val="782183079"/>
                    </a:ext>
                  </a:extLst>
                </a:gridCol>
              </a:tblGrid>
              <a:tr h="440507">
                <a:tc>
                  <a:txBody>
                    <a:bodyPr/>
                    <a:lstStyle/>
                    <a:p>
                      <a:pPr algn="ctr"/>
                      <a:r>
                        <a:rPr lang="en-US" sz="1600" dirty="0"/>
                        <a:t>Start Dat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tx2"/>
                          </a:solidFill>
                        </a:rPr>
                        <a:t>09/25/2023</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0" name="Table 9">
            <a:extLst>
              <a:ext uri="{FF2B5EF4-FFF2-40B4-BE49-F238E27FC236}">
                <a16:creationId xmlns:a16="http://schemas.microsoft.com/office/drawing/2014/main" id="{64A0643F-94FE-F237-F986-A9E65824171D}"/>
              </a:ext>
            </a:extLst>
          </p:cNvPr>
          <p:cNvGraphicFramePr>
            <a:graphicFrameLocks noGrp="1"/>
          </p:cNvGraphicFramePr>
          <p:nvPr/>
        </p:nvGraphicFramePr>
        <p:xfrm>
          <a:off x="5092645" y="5579015"/>
          <a:ext cx="4531786" cy="440507"/>
        </p:xfrm>
        <a:graphic>
          <a:graphicData uri="http://schemas.openxmlformats.org/drawingml/2006/table">
            <a:tbl>
              <a:tblPr firstCol="1" bandRow="1">
                <a:tableStyleId>{21E4AEA4-8DFA-4A89-87EB-49C32662AFE0}</a:tableStyleId>
              </a:tblPr>
              <a:tblGrid>
                <a:gridCol w="2265893">
                  <a:extLst>
                    <a:ext uri="{9D8B030D-6E8A-4147-A177-3AD203B41FA5}">
                      <a16:colId xmlns:a16="http://schemas.microsoft.com/office/drawing/2014/main" val="2220404095"/>
                    </a:ext>
                  </a:extLst>
                </a:gridCol>
                <a:gridCol w="2265893">
                  <a:extLst>
                    <a:ext uri="{9D8B030D-6E8A-4147-A177-3AD203B41FA5}">
                      <a16:colId xmlns:a16="http://schemas.microsoft.com/office/drawing/2014/main" val="782183079"/>
                    </a:ext>
                  </a:extLst>
                </a:gridCol>
              </a:tblGrid>
              <a:tr h="440507">
                <a:tc>
                  <a:txBody>
                    <a:bodyPr/>
                    <a:lstStyle/>
                    <a:p>
                      <a:pPr algn="ctr"/>
                      <a:r>
                        <a:rPr lang="en-US" sz="1600" dirty="0"/>
                        <a:t>End Date</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lang="en-US" sz="1600" dirty="0">
                          <a:solidFill>
                            <a:schemeClr val="tx2"/>
                          </a:solidFill>
                        </a:rPr>
                        <a:t>11/24/2023</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2" name="Table 11">
            <a:extLst>
              <a:ext uri="{FF2B5EF4-FFF2-40B4-BE49-F238E27FC236}">
                <a16:creationId xmlns:a16="http://schemas.microsoft.com/office/drawing/2014/main" id="{3CF7D926-5FDD-9A89-A1F4-2053ABB585E0}"/>
              </a:ext>
            </a:extLst>
          </p:cNvPr>
          <p:cNvGraphicFramePr>
            <a:graphicFrameLocks noGrp="1"/>
          </p:cNvGraphicFramePr>
          <p:nvPr/>
        </p:nvGraphicFramePr>
        <p:xfrm>
          <a:off x="9714768" y="5565539"/>
          <a:ext cx="4531786" cy="597408"/>
        </p:xfrm>
        <a:graphic>
          <a:graphicData uri="http://schemas.openxmlformats.org/drawingml/2006/table">
            <a:tbl>
              <a:tblPr firstCol="1" bandRow="1">
                <a:tableStyleId>{21E4AEA4-8DFA-4A89-87EB-49C32662AFE0}</a:tableStyleId>
              </a:tblPr>
              <a:tblGrid>
                <a:gridCol w="2265893">
                  <a:extLst>
                    <a:ext uri="{9D8B030D-6E8A-4147-A177-3AD203B41FA5}">
                      <a16:colId xmlns:a16="http://schemas.microsoft.com/office/drawing/2014/main" val="2220404095"/>
                    </a:ext>
                  </a:extLst>
                </a:gridCol>
                <a:gridCol w="2265893">
                  <a:extLst>
                    <a:ext uri="{9D8B030D-6E8A-4147-A177-3AD203B41FA5}">
                      <a16:colId xmlns:a16="http://schemas.microsoft.com/office/drawing/2014/main" val="782183079"/>
                    </a:ext>
                  </a:extLst>
                </a:gridCol>
              </a:tblGrid>
              <a:tr h="592531">
                <a:tc>
                  <a:txBody>
                    <a:bodyPr/>
                    <a:lstStyle/>
                    <a:p>
                      <a:pPr algn="ctr"/>
                      <a:r>
                        <a:rPr lang="en-US" sz="1600" dirty="0"/>
                        <a:t>Duration (weeks)</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tx2"/>
                          </a:solidFill>
                        </a:rPr>
                        <a:t>9 week duration with total 10 weeks effort</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3" name="Table 9">
            <a:extLst>
              <a:ext uri="{FF2B5EF4-FFF2-40B4-BE49-F238E27FC236}">
                <a16:creationId xmlns:a16="http://schemas.microsoft.com/office/drawing/2014/main" id="{83F15FEB-1346-8990-1C22-A1C00AF31DB8}"/>
              </a:ext>
            </a:extLst>
          </p:cNvPr>
          <p:cNvGraphicFramePr>
            <a:graphicFrameLocks noGrp="1"/>
          </p:cNvGraphicFramePr>
          <p:nvPr/>
        </p:nvGraphicFramePr>
        <p:xfrm>
          <a:off x="416587" y="4959803"/>
          <a:ext cx="4531786" cy="490036"/>
        </p:xfrm>
        <a:graphic>
          <a:graphicData uri="http://schemas.openxmlformats.org/drawingml/2006/table">
            <a:tbl>
              <a:tblPr firstCol="1" bandRow="1">
                <a:tableStyleId>{21E4AEA4-8DFA-4A89-87EB-49C32662AFE0}</a:tableStyleId>
              </a:tblPr>
              <a:tblGrid>
                <a:gridCol w="2265893">
                  <a:extLst>
                    <a:ext uri="{9D8B030D-6E8A-4147-A177-3AD203B41FA5}">
                      <a16:colId xmlns:a16="http://schemas.microsoft.com/office/drawing/2014/main" val="2220404095"/>
                    </a:ext>
                  </a:extLst>
                </a:gridCol>
                <a:gridCol w="2265893">
                  <a:extLst>
                    <a:ext uri="{9D8B030D-6E8A-4147-A177-3AD203B41FA5}">
                      <a16:colId xmlns:a16="http://schemas.microsoft.com/office/drawing/2014/main" val="782183079"/>
                    </a:ext>
                  </a:extLst>
                </a:gridCol>
              </a:tblGrid>
              <a:tr h="490036">
                <a:tc>
                  <a:txBody>
                    <a:bodyPr/>
                    <a:lstStyle/>
                    <a:p>
                      <a:pPr algn="ctr"/>
                      <a:r>
                        <a:rPr lang="en-US" sz="1600" dirty="0"/>
                        <a:t>Supply Chain Org</a:t>
                      </a:r>
                    </a:p>
                    <a:p>
                      <a:pPr algn="ctr"/>
                      <a:r>
                        <a:rPr lang="en-US" sz="700" dirty="0"/>
                        <a:t>(See notes below for options)</a:t>
                      </a: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tx2"/>
                          </a:solidFill>
                        </a:rPr>
                        <a:t>MT-CSS-Sterilmed</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4" name="Table 13">
            <a:extLst>
              <a:ext uri="{FF2B5EF4-FFF2-40B4-BE49-F238E27FC236}">
                <a16:creationId xmlns:a16="http://schemas.microsoft.com/office/drawing/2014/main" id="{A5F5B135-83D0-74AA-6611-72A5CDD8033D}"/>
              </a:ext>
            </a:extLst>
          </p:cNvPr>
          <p:cNvGraphicFramePr>
            <a:graphicFrameLocks noGrp="1"/>
          </p:cNvGraphicFramePr>
          <p:nvPr/>
        </p:nvGraphicFramePr>
        <p:xfrm>
          <a:off x="9698395" y="4919486"/>
          <a:ext cx="4531786" cy="530352"/>
        </p:xfrm>
        <a:graphic>
          <a:graphicData uri="http://schemas.openxmlformats.org/drawingml/2006/table">
            <a:tbl>
              <a:tblPr firstCol="1" bandRow="1">
                <a:tableStyleId>{21E4AEA4-8DFA-4A89-87EB-49C32662AFE0}</a:tableStyleId>
              </a:tblPr>
              <a:tblGrid>
                <a:gridCol w="2265893">
                  <a:extLst>
                    <a:ext uri="{9D8B030D-6E8A-4147-A177-3AD203B41FA5}">
                      <a16:colId xmlns:a16="http://schemas.microsoft.com/office/drawing/2014/main" val="2220404095"/>
                    </a:ext>
                  </a:extLst>
                </a:gridCol>
                <a:gridCol w="2265893">
                  <a:extLst>
                    <a:ext uri="{9D8B030D-6E8A-4147-A177-3AD203B41FA5}">
                      <a16:colId xmlns:a16="http://schemas.microsoft.com/office/drawing/2014/main" val="782183079"/>
                    </a:ext>
                  </a:extLst>
                </a:gridCol>
              </a:tblGrid>
              <a:tr h="530352">
                <a:tc>
                  <a:txBody>
                    <a:bodyPr/>
                    <a:lstStyle/>
                    <a:p>
                      <a:pPr algn="ctr"/>
                      <a:r>
                        <a:rPr lang="en-US" sz="1300" dirty="0"/>
                        <a:t>Type of Initiative</a:t>
                      </a:r>
                      <a:endParaRPr lang="en-US" sz="1000" dirty="0"/>
                    </a:p>
                    <a:p>
                      <a:pPr algn="ctr"/>
                      <a:r>
                        <a:rPr lang="en-US" sz="700" dirty="0"/>
                        <a:t>(See notes below for options)</a:t>
                      </a:r>
                    </a:p>
                    <a:p>
                      <a:pPr algn="ctr"/>
                      <a:endParaRPr lang="en-US" sz="600" dirty="0"/>
                    </a:p>
                  </a:txBody>
                  <a:tcPr marL="109728" marR="109728" marT="54864" marB="54864">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solidFill>
                            <a:schemeClr val="tx2"/>
                          </a:solidFill>
                        </a:rPr>
                        <a:t>Transform</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5" name="Table 14">
            <a:extLst>
              <a:ext uri="{FF2B5EF4-FFF2-40B4-BE49-F238E27FC236}">
                <a16:creationId xmlns:a16="http://schemas.microsoft.com/office/drawing/2014/main" id="{AB6298A2-DA18-7E9C-CD9A-08F9E28DCDA7}"/>
              </a:ext>
            </a:extLst>
          </p:cNvPr>
          <p:cNvGraphicFramePr>
            <a:graphicFrameLocks noGrp="1"/>
          </p:cNvGraphicFramePr>
          <p:nvPr/>
        </p:nvGraphicFramePr>
        <p:xfrm>
          <a:off x="5049305" y="4941582"/>
          <a:ext cx="4531786" cy="524812"/>
        </p:xfrm>
        <a:graphic>
          <a:graphicData uri="http://schemas.openxmlformats.org/drawingml/2006/table">
            <a:tbl>
              <a:tblPr firstCol="1" bandRow="1">
                <a:tableStyleId>{21E4AEA4-8DFA-4A89-87EB-49C32662AFE0}</a:tableStyleId>
              </a:tblPr>
              <a:tblGrid>
                <a:gridCol w="2265893">
                  <a:extLst>
                    <a:ext uri="{9D8B030D-6E8A-4147-A177-3AD203B41FA5}">
                      <a16:colId xmlns:a16="http://schemas.microsoft.com/office/drawing/2014/main" val="2220404095"/>
                    </a:ext>
                  </a:extLst>
                </a:gridCol>
                <a:gridCol w="2265893">
                  <a:extLst>
                    <a:ext uri="{9D8B030D-6E8A-4147-A177-3AD203B41FA5}">
                      <a16:colId xmlns:a16="http://schemas.microsoft.com/office/drawing/2014/main" val="782183079"/>
                    </a:ext>
                  </a:extLst>
                </a:gridCol>
              </a:tblGrid>
              <a:tr h="524812">
                <a:tc>
                  <a:txBody>
                    <a:bodyPr/>
                    <a:lstStyle/>
                    <a:p>
                      <a:pPr algn="ctr"/>
                      <a:r>
                        <a:rPr lang="en-US" sz="1600" dirty="0"/>
                        <a:t>APL</a:t>
                      </a:r>
                    </a:p>
                    <a:p>
                      <a:pPr algn="ctr"/>
                      <a:r>
                        <a:rPr lang="en-US" sz="700" dirty="0"/>
                        <a:t>(See notes below for options)</a:t>
                      </a:r>
                      <a:endParaRPr lang="en-US" sz="700" dirty="0">
                        <a:solidFill>
                          <a:schemeClr val="bg1"/>
                        </a:solidFill>
                      </a:endParaRPr>
                    </a:p>
                  </a:txBody>
                  <a:tcPr marL="109728" marR="109728" marT="54864" marB="54864">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US" sz="1200" b="0" i="0" u="none" strike="noStrike" kern="1200" cap="none" spc="0" normalizeH="0" baseline="0" noProof="0" dirty="0">
                          <a:ln>
                            <a:noFill/>
                          </a:ln>
                          <a:solidFill>
                            <a:srgbClr val="212121"/>
                          </a:solidFill>
                          <a:effectLst/>
                          <a:uLnTx/>
                          <a:uFillTx/>
                          <a:latin typeface="+mn-lt"/>
                          <a:ea typeface="Times New Roman" panose="02020603050405020304" pitchFamily="18" charset="0"/>
                        </a:rPr>
                        <a:t>ERP – SAP Other</a:t>
                      </a:r>
                      <a:endParaRPr lang="en-US" sz="1200" dirty="0">
                        <a:solidFill>
                          <a:schemeClr val="tx2"/>
                        </a:solidFill>
                        <a:latin typeface="+mn-lt"/>
                      </a:endParaRP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3932609"/>
                  </a:ext>
                </a:extLst>
              </a:tr>
            </a:tbl>
          </a:graphicData>
        </a:graphic>
      </p:graphicFrame>
      <p:graphicFrame>
        <p:nvGraphicFramePr>
          <p:cNvPr id="17" name="Table 17">
            <a:extLst>
              <a:ext uri="{FF2B5EF4-FFF2-40B4-BE49-F238E27FC236}">
                <a16:creationId xmlns:a16="http://schemas.microsoft.com/office/drawing/2014/main" id="{E82AB871-71EB-B0A3-0BC9-6FC502AB24A6}"/>
              </a:ext>
            </a:extLst>
          </p:cNvPr>
          <p:cNvGraphicFramePr>
            <a:graphicFrameLocks noGrp="1"/>
          </p:cNvGraphicFramePr>
          <p:nvPr/>
        </p:nvGraphicFramePr>
        <p:xfrm>
          <a:off x="400214" y="2956093"/>
          <a:ext cx="6903061" cy="1910105"/>
        </p:xfrm>
        <a:graphic>
          <a:graphicData uri="http://schemas.openxmlformats.org/drawingml/2006/table">
            <a:tbl>
              <a:tblPr firstRow="1" bandRow="1">
                <a:tableStyleId>{21E4AEA4-8DFA-4A89-87EB-49C32662AFE0}</a:tableStyleId>
              </a:tblPr>
              <a:tblGrid>
                <a:gridCol w="6903061">
                  <a:extLst>
                    <a:ext uri="{9D8B030D-6E8A-4147-A177-3AD203B41FA5}">
                      <a16:colId xmlns:a16="http://schemas.microsoft.com/office/drawing/2014/main" val="3839741747"/>
                    </a:ext>
                  </a:extLst>
                </a:gridCol>
              </a:tblGrid>
              <a:tr h="361171">
                <a:tc>
                  <a:txBody>
                    <a:bodyPr/>
                    <a:lstStyle/>
                    <a:p>
                      <a:r>
                        <a:rPr lang="en-US" sz="1600" dirty="0"/>
                        <a:t>Additional Details / Notes</a:t>
                      </a:r>
                    </a:p>
                  </a:txBody>
                  <a:tcPr marL="109728" marR="109728" marT="54864" marB="54864">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0081570"/>
                  </a:ext>
                </a:extLst>
              </a:tr>
              <a:tr h="1548934">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kumimoji="0" lang="en-US" sz="1300" b="0" u="none" strike="noStrike" kern="0" cap="none" spc="0" normalizeH="0" baseline="0" noProof="0" dirty="0">
                          <a:ln>
                            <a:noFill/>
                          </a:ln>
                          <a:solidFill>
                            <a:srgbClr val="000000">
                              <a:lumMod val="75000"/>
                              <a:lumOff val="25000"/>
                            </a:srgbClr>
                          </a:solidFill>
                          <a:effectLst/>
                          <a:uLnTx/>
                          <a:uFillTx/>
                        </a:rPr>
                        <a:t>Enter additional details as required</a:t>
                      </a:r>
                      <a:endPar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endParaRP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F"/>
                    </a:solidFill>
                  </a:tcPr>
                </a:tc>
                <a:extLst>
                  <a:ext uri="{0D108BD9-81ED-4DB2-BD59-A6C34878D82A}">
                    <a16:rowId xmlns:a16="http://schemas.microsoft.com/office/drawing/2014/main" val="1191306787"/>
                  </a:ext>
                </a:extLst>
              </a:tr>
            </a:tbl>
          </a:graphicData>
        </a:graphic>
      </p:graphicFrame>
      <p:graphicFrame>
        <p:nvGraphicFramePr>
          <p:cNvPr id="5" name="Table 17">
            <a:extLst>
              <a:ext uri="{FF2B5EF4-FFF2-40B4-BE49-F238E27FC236}">
                <a16:creationId xmlns:a16="http://schemas.microsoft.com/office/drawing/2014/main" id="{0097211A-4992-9A7A-5ECC-43D84007EC88}"/>
              </a:ext>
            </a:extLst>
          </p:cNvPr>
          <p:cNvGraphicFramePr>
            <a:graphicFrameLocks noGrp="1"/>
          </p:cNvGraphicFramePr>
          <p:nvPr/>
        </p:nvGraphicFramePr>
        <p:xfrm>
          <a:off x="7327128" y="2956093"/>
          <a:ext cx="6931356" cy="868894"/>
        </p:xfrm>
        <a:graphic>
          <a:graphicData uri="http://schemas.openxmlformats.org/drawingml/2006/table">
            <a:tbl>
              <a:tblPr firstRow="1" bandRow="1">
                <a:tableStyleId>{21E4AEA4-8DFA-4A89-87EB-49C32662AFE0}</a:tableStyleId>
              </a:tblPr>
              <a:tblGrid>
                <a:gridCol w="2310452">
                  <a:extLst>
                    <a:ext uri="{9D8B030D-6E8A-4147-A177-3AD203B41FA5}">
                      <a16:colId xmlns:a16="http://schemas.microsoft.com/office/drawing/2014/main" val="3839741747"/>
                    </a:ext>
                  </a:extLst>
                </a:gridCol>
                <a:gridCol w="2310452">
                  <a:extLst>
                    <a:ext uri="{9D8B030D-6E8A-4147-A177-3AD203B41FA5}">
                      <a16:colId xmlns:a16="http://schemas.microsoft.com/office/drawing/2014/main" val="2143947945"/>
                    </a:ext>
                  </a:extLst>
                </a:gridCol>
                <a:gridCol w="2310452">
                  <a:extLst>
                    <a:ext uri="{9D8B030D-6E8A-4147-A177-3AD203B41FA5}">
                      <a16:colId xmlns:a16="http://schemas.microsoft.com/office/drawing/2014/main" val="3564680343"/>
                    </a:ext>
                  </a:extLst>
                </a:gridCol>
              </a:tblGrid>
              <a:tr h="351130">
                <a:tc>
                  <a:txBody>
                    <a:bodyPr/>
                    <a:lstStyle/>
                    <a:p>
                      <a:r>
                        <a:rPr lang="en-US" sz="1600" dirty="0"/>
                        <a:t>Data Availability</a:t>
                      </a:r>
                    </a:p>
                  </a:txBody>
                  <a:tcPr marL="109728" marR="109728" marT="54864" marB="54864">
                    <a:lnB w="12700" cap="flat" cmpd="sng" algn="ctr">
                      <a:solidFill>
                        <a:schemeClr val="tx1"/>
                      </a:solidFill>
                      <a:prstDash val="solid"/>
                      <a:round/>
                      <a:headEnd type="none" w="med" len="med"/>
                      <a:tailEnd type="none" w="med" len="med"/>
                    </a:lnB>
                  </a:tcPr>
                </a:tc>
                <a:tc>
                  <a:txBody>
                    <a:bodyPr/>
                    <a:lstStyle/>
                    <a:p>
                      <a:r>
                        <a:rPr lang="en-US" sz="1600" dirty="0"/>
                        <a:t>Score Before Project</a:t>
                      </a:r>
                    </a:p>
                  </a:txBody>
                  <a:tcPr marL="109728" marR="109728" marT="54864" marB="54864">
                    <a:lnB w="12700" cap="flat" cmpd="sng" algn="ctr">
                      <a:solidFill>
                        <a:schemeClr val="tx1"/>
                      </a:solidFill>
                      <a:prstDash val="solid"/>
                      <a:round/>
                      <a:headEnd type="none" w="med" len="med"/>
                      <a:tailEnd type="none" w="med" len="med"/>
                    </a:lnB>
                  </a:tcPr>
                </a:tc>
                <a:tc>
                  <a:txBody>
                    <a:bodyPr/>
                    <a:lstStyle/>
                    <a:p>
                      <a:r>
                        <a:rPr lang="en-US" sz="1600" dirty="0"/>
                        <a:t>Score After Project</a:t>
                      </a:r>
                    </a:p>
                  </a:txBody>
                  <a:tcPr marL="109728" marR="109728" marT="54864" marB="54864">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0081570"/>
                  </a:ext>
                </a:extLst>
              </a:tr>
              <a:tr h="515326">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rPr>
                        <a:t>Enter a rating for anticipated data availability </a:t>
                      </a: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F"/>
                    </a:solidFill>
                  </a:tcPr>
                </a:tc>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rPr>
                        <a:t>1-5</a:t>
                      </a:r>
                    </a:p>
                    <a:p>
                      <a:pPr marL="0" marR="0" lvl="0" indent="0" algn="ctr" defTabSz="288036"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rPr>
                        <a:t>(Poor -1 Excellent -5)</a:t>
                      </a:r>
                      <a:endPar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endParaRP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F"/>
                    </a:solidFill>
                  </a:tcPr>
                </a:tc>
                <a:tc>
                  <a:txBody>
                    <a:bodyPr/>
                    <a:lstStyle/>
                    <a:p>
                      <a:pPr marL="0" marR="0" lvl="0" indent="0" algn="ctr" defTabSz="28803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rPr>
                        <a:t>1-5</a:t>
                      </a: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F"/>
                    </a:solidFill>
                  </a:tcPr>
                </a:tc>
                <a:extLst>
                  <a:ext uri="{0D108BD9-81ED-4DB2-BD59-A6C34878D82A}">
                    <a16:rowId xmlns:a16="http://schemas.microsoft.com/office/drawing/2014/main" val="1191306787"/>
                  </a:ext>
                </a:extLst>
              </a:tr>
            </a:tbl>
          </a:graphicData>
        </a:graphic>
      </p:graphicFrame>
      <p:graphicFrame>
        <p:nvGraphicFramePr>
          <p:cNvPr id="6" name="Table 2">
            <a:extLst>
              <a:ext uri="{FF2B5EF4-FFF2-40B4-BE49-F238E27FC236}">
                <a16:creationId xmlns:a16="http://schemas.microsoft.com/office/drawing/2014/main" id="{167CA418-0DAA-9346-6775-F2D429C705CB}"/>
              </a:ext>
            </a:extLst>
          </p:cNvPr>
          <p:cNvGraphicFramePr>
            <a:graphicFrameLocks noGrp="1"/>
          </p:cNvGraphicFramePr>
          <p:nvPr/>
        </p:nvGraphicFramePr>
        <p:xfrm>
          <a:off x="388291" y="2247992"/>
          <a:ext cx="13829967" cy="676656"/>
        </p:xfrm>
        <a:graphic>
          <a:graphicData uri="http://schemas.openxmlformats.org/drawingml/2006/table">
            <a:tbl>
              <a:tblPr firstCol="1" bandRow="1">
                <a:tableStyleId>{21E4AEA4-8DFA-4A89-87EB-49C32662AFE0}</a:tableStyleId>
              </a:tblPr>
              <a:tblGrid>
                <a:gridCol w="2093843">
                  <a:extLst>
                    <a:ext uri="{9D8B030D-6E8A-4147-A177-3AD203B41FA5}">
                      <a16:colId xmlns:a16="http://schemas.microsoft.com/office/drawing/2014/main" val="123260567"/>
                    </a:ext>
                  </a:extLst>
                </a:gridCol>
                <a:gridCol w="11736124">
                  <a:extLst>
                    <a:ext uri="{9D8B030D-6E8A-4147-A177-3AD203B41FA5}">
                      <a16:colId xmlns:a16="http://schemas.microsoft.com/office/drawing/2014/main" val="1819922604"/>
                    </a:ext>
                  </a:extLst>
                </a:gridCol>
              </a:tblGrid>
              <a:tr h="676656">
                <a:tc>
                  <a:txBody>
                    <a:bodyPr/>
                    <a:lstStyle/>
                    <a:p>
                      <a:pPr algn="ctr"/>
                      <a:r>
                        <a:rPr lang="en-US" sz="1300" u="none" dirty="0">
                          <a:solidFill>
                            <a:schemeClr val="bg1"/>
                          </a:solidFill>
                        </a:rPr>
                        <a:t>Business Value Statement </a:t>
                      </a:r>
                      <a:r>
                        <a:rPr lang="en-US" sz="1100" u="none" dirty="0">
                          <a:solidFill>
                            <a:schemeClr val="bg1"/>
                          </a:solidFill>
                        </a:rPr>
                        <a:t>(Qualitative/Quantitative)</a:t>
                      </a:r>
                      <a:endParaRPr lang="en-US" sz="1300" u="none" dirty="0">
                        <a:solidFill>
                          <a:schemeClr val="bg1"/>
                        </a:solidFill>
                      </a:endParaRP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a:solidFill>
                            <a:schemeClr val="tx2"/>
                          </a:solidFill>
                        </a:rPr>
                        <a:t>Reduce manual processes that are inefficient and impact the effectiveness of service delivery and ultimately not able to support expected growth in business. Migrate to existing CSS solution with required capabilities to support business growth as a bridge to S4 long-term solution (2033). </a:t>
                      </a:r>
                      <a:endParaRPr lang="en-US" sz="1600" dirty="0">
                        <a:solidFill>
                          <a:schemeClr val="tx2"/>
                        </a:solidFill>
                      </a:endParaRP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7380580"/>
                  </a:ext>
                </a:extLst>
              </a:tr>
            </a:tbl>
          </a:graphicData>
        </a:graphic>
      </p:graphicFrame>
      <p:graphicFrame>
        <p:nvGraphicFramePr>
          <p:cNvPr id="7" name="Table 17">
            <a:extLst>
              <a:ext uri="{FF2B5EF4-FFF2-40B4-BE49-F238E27FC236}">
                <a16:creationId xmlns:a16="http://schemas.microsoft.com/office/drawing/2014/main" id="{EA63C413-CEF5-15F3-021A-F8F818466E81}"/>
              </a:ext>
            </a:extLst>
          </p:cNvPr>
          <p:cNvGraphicFramePr>
            <a:graphicFrameLocks noGrp="1"/>
          </p:cNvGraphicFramePr>
          <p:nvPr/>
        </p:nvGraphicFramePr>
        <p:xfrm>
          <a:off x="7327128" y="3857699"/>
          <a:ext cx="6931357" cy="1008499"/>
        </p:xfrm>
        <a:graphic>
          <a:graphicData uri="http://schemas.openxmlformats.org/drawingml/2006/table">
            <a:tbl>
              <a:tblPr firstRow="1" bandRow="1">
                <a:tableStyleId>{21E4AEA4-8DFA-4A89-87EB-49C32662AFE0}</a:tableStyleId>
              </a:tblPr>
              <a:tblGrid>
                <a:gridCol w="6931357">
                  <a:extLst>
                    <a:ext uri="{9D8B030D-6E8A-4147-A177-3AD203B41FA5}">
                      <a16:colId xmlns:a16="http://schemas.microsoft.com/office/drawing/2014/main" val="3839741747"/>
                    </a:ext>
                  </a:extLst>
                </a:gridCol>
              </a:tblGrid>
              <a:tr h="379484">
                <a:tc>
                  <a:txBody>
                    <a:bodyPr/>
                    <a:lstStyle/>
                    <a:p>
                      <a:r>
                        <a:rPr lang="en-US" sz="1600" dirty="0"/>
                        <a:t>Key KPI(s) Notes</a:t>
                      </a:r>
                    </a:p>
                  </a:txBody>
                  <a:tcPr marL="109728" marR="109728" marT="54864" marB="54864">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0081570"/>
                  </a:ext>
                </a:extLst>
              </a:tr>
              <a:tr h="629015">
                <a:tc>
                  <a:txBody>
                    <a:bodyPr/>
                    <a:lstStyle/>
                    <a:p>
                      <a:pPr rtl="0" fontAlgn="base"/>
                      <a:r>
                        <a:rPr lang="en-US" sz="1300" b="0" i="0" u="none" strike="noStrike" kern="1200" dirty="0">
                          <a:solidFill>
                            <a:schemeClr val="tx2"/>
                          </a:solidFill>
                          <a:effectLst/>
                          <a:latin typeface="+mn-lt"/>
                          <a:ea typeface="+mn-ea"/>
                          <a:cs typeface="+mn-cs"/>
                        </a:rPr>
                        <a:t>Ex. Key Success Metrics; Source systems(s) </a:t>
                      </a:r>
                      <a:endParaRPr lang="en-US" sz="1300" b="0" i="0" kern="1200" dirty="0">
                        <a:solidFill>
                          <a:schemeClr val="tx2"/>
                        </a:solidFill>
                        <a:effectLst/>
                        <a:latin typeface="+mn-lt"/>
                        <a:ea typeface="+mn-ea"/>
                        <a:cs typeface="+mn-cs"/>
                      </a:endParaRPr>
                    </a:p>
                    <a:p>
                      <a:pPr marL="0" marR="0" lvl="0" indent="0" algn="l" defTabSz="288036"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lumMod val="75000"/>
                            <a:lumOff val="25000"/>
                          </a:srgbClr>
                        </a:solidFill>
                        <a:effectLst/>
                        <a:uLnTx/>
                        <a:uFillTx/>
                        <a:latin typeface="+mn-lt"/>
                        <a:ea typeface="ＭＳ Ｐゴシック"/>
                        <a:cs typeface="Calibri" panose="020F0502020204030204" pitchFamily="34" charset="0"/>
                      </a:endParaRPr>
                    </a:p>
                  </a:txBody>
                  <a:tcPr marL="109728" marR="109728" marT="54864" marB="548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F"/>
                    </a:solidFill>
                  </a:tcPr>
                </a:tc>
                <a:extLst>
                  <a:ext uri="{0D108BD9-81ED-4DB2-BD59-A6C34878D82A}">
                    <a16:rowId xmlns:a16="http://schemas.microsoft.com/office/drawing/2014/main" val="1191306787"/>
                  </a:ext>
                </a:extLst>
              </a:tr>
            </a:tbl>
          </a:graphicData>
        </a:graphic>
      </p:graphicFrame>
      <p:graphicFrame>
        <p:nvGraphicFramePr>
          <p:cNvPr id="8" name="Table 2">
            <a:extLst>
              <a:ext uri="{FF2B5EF4-FFF2-40B4-BE49-F238E27FC236}">
                <a16:creationId xmlns:a16="http://schemas.microsoft.com/office/drawing/2014/main" id="{2B97F41E-970E-6C85-3B55-10256CFB37A9}"/>
              </a:ext>
            </a:extLst>
          </p:cNvPr>
          <p:cNvGraphicFramePr>
            <a:graphicFrameLocks noGrp="1"/>
          </p:cNvGraphicFramePr>
          <p:nvPr/>
        </p:nvGraphicFramePr>
        <p:xfrm>
          <a:off x="365761" y="377952"/>
          <a:ext cx="3956339" cy="601909"/>
        </p:xfrm>
        <a:graphic>
          <a:graphicData uri="http://schemas.openxmlformats.org/drawingml/2006/table">
            <a:tbl>
              <a:tblPr firstCol="1" bandRow="1">
                <a:tableStyleId>{21E4AEA4-8DFA-4A89-87EB-49C32662AFE0}</a:tableStyleId>
              </a:tblPr>
              <a:tblGrid>
                <a:gridCol w="2145792">
                  <a:extLst>
                    <a:ext uri="{9D8B030D-6E8A-4147-A177-3AD203B41FA5}">
                      <a16:colId xmlns:a16="http://schemas.microsoft.com/office/drawing/2014/main" val="123260567"/>
                    </a:ext>
                  </a:extLst>
                </a:gridCol>
                <a:gridCol w="1810547">
                  <a:extLst>
                    <a:ext uri="{9D8B030D-6E8A-4147-A177-3AD203B41FA5}">
                      <a16:colId xmlns:a16="http://schemas.microsoft.com/office/drawing/2014/main" val="1819922604"/>
                    </a:ext>
                  </a:extLst>
                </a:gridCol>
              </a:tblGrid>
              <a:tr h="601909">
                <a:tc>
                  <a:txBody>
                    <a:bodyPr/>
                    <a:lstStyle/>
                    <a:p>
                      <a:pPr algn="ctr"/>
                      <a:r>
                        <a:rPr lang="en-US" sz="1300" u="none" dirty="0">
                          <a:solidFill>
                            <a:schemeClr val="bg1"/>
                          </a:solidFill>
                        </a:rPr>
                        <a:t>Service Type</a:t>
                      </a:r>
                    </a:p>
                  </a:txBody>
                  <a:tcPr marL="109728" marR="109728" marT="54864" marB="54864"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solidFill>
                            <a:schemeClr val="tx2"/>
                          </a:solidFill>
                        </a:rPr>
                        <a:t>Traditional CPI</a:t>
                      </a:r>
                    </a:p>
                  </a:txBody>
                  <a:tcPr marL="109728" marR="109728" marT="54864" marB="54864"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7380580"/>
                  </a:ext>
                </a:extLst>
              </a:tr>
            </a:tbl>
          </a:graphicData>
        </a:graphic>
      </p:graphicFrame>
    </p:spTree>
    <p:extLst>
      <p:ext uri="{BB962C8B-B14F-4D97-AF65-F5344CB8AC3E}">
        <p14:creationId xmlns:p14="http://schemas.microsoft.com/office/powerpoint/2010/main" val="162562523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251061-E727-5911-A261-ED9884B9129B}"/>
              </a:ext>
            </a:extLst>
          </p:cNvPr>
          <p:cNvSpPr/>
          <p:nvPr/>
        </p:nvSpPr>
        <p:spPr>
          <a:xfrm>
            <a:off x="288584" y="1389888"/>
            <a:ext cx="6835837" cy="6156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auto">
              <a:spcBef>
                <a:spcPts val="0"/>
              </a:spcBef>
              <a:spcAft>
                <a:spcPts val="0"/>
              </a:spcAft>
            </a:pPr>
            <a:endParaRPr lang="en-US" sz="2160" dirty="0">
              <a:solidFill>
                <a:srgbClr val="FFFFFF"/>
              </a:solidFill>
              <a:latin typeface="Johnson Text"/>
            </a:endParaRPr>
          </a:p>
        </p:txBody>
      </p:sp>
      <p:sp>
        <p:nvSpPr>
          <p:cNvPr id="2" name="Rectangle 1">
            <a:extLst>
              <a:ext uri="{FF2B5EF4-FFF2-40B4-BE49-F238E27FC236}">
                <a16:creationId xmlns:a16="http://schemas.microsoft.com/office/drawing/2014/main" id="{DCF6226A-C1B9-FC76-3081-183E76BFB252}"/>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Text"/>
                <a:ea typeface="+mn-ea"/>
                <a:cs typeface="+mn-cs"/>
              </a:rPr>
              <a:t>Technical Solution</a:t>
            </a:r>
            <a:endParaRPr lang="en-US" sz="2400" dirty="0">
              <a:solidFill>
                <a:srgbClr val="564C47"/>
              </a:solidFill>
              <a:latin typeface="Johnson Text"/>
              <a:ea typeface="+mn-ea"/>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pic>
        <p:nvPicPr>
          <p:cNvPr id="4" name="Picture 3">
            <a:extLst>
              <a:ext uri="{FF2B5EF4-FFF2-40B4-BE49-F238E27FC236}">
                <a16:creationId xmlns:a16="http://schemas.microsoft.com/office/drawing/2014/main" id="{5618ABAE-6AF4-4CBD-2EC8-6BCC70F199A4}"/>
              </a:ext>
            </a:extLst>
          </p:cNvPr>
          <p:cNvPicPr>
            <a:picLocks noChangeAspect="1"/>
          </p:cNvPicPr>
          <p:nvPr/>
        </p:nvPicPr>
        <p:blipFill>
          <a:blip r:embed="rId2"/>
          <a:stretch>
            <a:fillRect/>
          </a:stretch>
        </p:blipFill>
        <p:spPr>
          <a:xfrm>
            <a:off x="420416" y="3054811"/>
            <a:ext cx="6488437" cy="4199429"/>
          </a:xfrm>
          <a:prstGeom prst="rect">
            <a:avLst/>
          </a:prstGeom>
        </p:spPr>
      </p:pic>
      <p:sp>
        <p:nvSpPr>
          <p:cNvPr id="9" name="Rectangle 8">
            <a:extLst>
              <a:ext uri="{FF2B5EF4-FFF2-40B4-BE49-F238E27FC236}">
                <a16:creationId xmlns:a16="http://schemas.microsoft.com/office/drawing/2014/main" id="{3C2D0B7F-0C36-1417-4EC4-5066A8E5C2B6}"/>
              </a:ext>
            </a:extLst>
          </p:cNvPr>
          <p:cNvSpPr/>
          <p:nvPr/>
        </p:nvSpPr>
        <p:spPr>
          <a:xfrm>
            <a:off x="7374148" y="1389888"/>
            <a:ext cx="6835837" cy="6156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fontAlgn="auto">
              <a:spcBef>
                <a:spcPts val="0"/>
              </a:spcBef>
              <a:spcAft>
                <a:spcPts val="0"/>
              </a:spcAft>
            </a:pPr>
            <a:endParaRPr lang="en-US" sz="2160" dirty="0">
              <a:solidFill>
                <a:srgbClr val="FFFFFF"/>
              </a:solidFill>
              <a:latin typeface="Johnson Text"/>
            </a:endParaRPr>
          </a:p>
        </p:txBody>
      </p:sp>
      <p:pic>
        <p:nvPicPr>
          <p:cNvPr id="6" name="Picture 5">
            <a:extLst>
              <a:ext uri="{FF2B5EF4-FFF2-40B4-BE49-F238E27FC236}">
                <a16:creationId xmlns:a16="http://schemas.microsoft.com/office/drawing/2014/main" id="{2C8A36CC-3CFB-0D0A-CAD3-3C9EA1A96C97}"/>
              </a:ext>
            </a:extLst>
          </p:cNvPr>
          <p:cNvPicPr>
            <a:picLocks noChangeAspect="1"/>
          </p:cNvPicPr>
          <p:nvPr/>
        </p:nvPicPr>
        <p:blipFill>
          <a:blip r:embed="rId3"/>
          <a:stretch>
            <a:fillRect/>
          </a:stretch>
        </p:blipFill>
        <p:spPr>
          <a:xfrm>
            <a:off x="7623875" y="3054811"/>
            <a:ext cx="6336382" cy="4199429"/>
          </a:xfrm>
          <a:prstGeom prst="rect">
            <a:avLst/>
          </a:prstGeom>
        </p:spPr>
      </p:pic>
      <p:sp>
        <p:nvSpPr>
          <p:cNvPr id="10" name="Arrow: Striped Right 9">
            <a:extLst>
              <a:ext uri="{FF2B5EF4-FFF2-40B4-BE49-F238E27FC236}">
                <a16:creationId xmlns:a16="http://schemas.microsoft.com/office/drawing/2014/main" id="{BCCBEC15-5D0C-2908-53B8-354CC423C674}"/>
              </a:ext>
            </a:extLst>
          </p:cNvPr>
          <p:cNvSpPr/>
          <p:nvPr/>
        </p:nvSpPr>
        <p:spPr>
          <a:xfrm>
            <a:off x="6464095" y="2186490"/>
            <a:ext cx="1494354" cy="713393"/>
          </a:xfrm>
          <a:prstGeom prst="stripedRightArrow">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defTabSz="1097280" fontAlgn="auto">
              <a:spcBef>
                <a:spcPts val="0"/>
              </a:spcBef>
              <a:spcAft>
                <a:spcPts val="0"/>
              </a:spcAft>
            </a:pPr>
            <a:endParaRPr lang="en-US" sz="2160" dirty="0">
              <a:solidFill>
                <a:srgbClr val="000000"/>
              </a:solidFill>
              <a:latin typeface="Johnson Text"/>
            </a:endParaRPr>
          </a:p>
        </p:txBody>
      </p:sp>
      <p:sp>
        <p:nvSpPr>
          <p:cNvPr id="11" name="TextBox 10">
            <a:extLst>
              <a:ext uri="{FF2B5EF4-FFF2-40B4-BE49-F238E27FC236}">
                <a16:creationId xmlns:a16="http://schemas.microsoft.com/office/drawing/2014/main" id="{92ADD64D-8F78-199F-0120-BF480031D7DC}"/>
              </a:ext>
            </a:extLst>
          </p:cNvPr>
          <p:cNvSpPr txBox="1"/>
          <p:nvPr/>
        </p:nvSpPr>
        <p:spPr>
          <a:xfrm>
            <a:off x="462283" y="1561540"/>
            <a:ext cx="6488437" cy="738664"/>
          </a:xfrm>
          <a:prstGeom prst="rect">
            <a:avLst/>
          </a:prstGeom>
          <a:noFill/>
        </p:spPr>
        <p:txBody>
          <a:bodyPr wrap="square" lIns="0" tIns="0" rIns="0" bIns="0" rtlCol="0">
            <a:spAutoFit/>
          </a:bodyPr>
          <a:lstStyle/>
          <a:p>
            <a:pPr algn="ctr" defTabSz="1097280" fontAlgn="auto">
              <a:spcBef>
                <a:spcPts val="0"/>
              </a:spcBef>
              <a:spcAft>
                <a:spcPts val="0"/>
              </a:spcAft>
            </a:pPr>
            <a:r>
              <a:rPr lang="en-US" sz="4800" dirty="0">
                <a:solidFill>
                  <a:srgbClr val="FFFFFF"/>
                </a:solidFill>
                <a:latin typeface="Johnson Text"/>
                <a:ea typeface="+mn-ea"/>
                <a:cs typeface="+mn-cs"/>
              </a:rPr>
              <a:t>Current State</a:t>
            </a:r>
          </a:p>
        </p:txBody>
      </p:sp>
      <p:sp>
        <p:nvSpPr>
          <p:cNvPr id="12" name="TextBox 11">
            <a:extLst>
              <a:ext uri="{FF2B5EF4-FFF2-40B4-BE49-F238E27FC236}">
                <a16:creationId xmlns:a16="http://schemas.microsoft.com/office/drawing/2014/main" id="{683FCA75-9711-2742-9DFE-53C40AB1F4D4}"/>
              </a:ext>
            </a:extLst>
          </p:cNvPr>
          <p:cNvSpPr txBox="1"/>
          <p:nvPr/>
        </p:nvSpPr>
        <p:spPr>
          <a:xfrm>
            <a:off x="7721548" y="1561539"/>
            <a:ext cx="6488437" cy="738664"/>
          </a:xfrm>
          <a:prstGeom prst="rect">
            <a:avLst/>
          </a:prstGeom>
          <a:noFill/>
        </p:spPr>
        <p:txBody>
          <a:bodyPr wrap="square" lIns="0" tIns="0" rIns="0" bIns="0" rtlCol="0">
            <a:spAutoFit/>
          </a:bodyPr>
          <a:lstStyle/>
          <a:p>
            <a:pPr algn="ctr" defTabSz="1097280" fontAlgn="auto">
              <a:spcBef>
                <a:spcPts val="0"/>
              </a:spcBef>
              <a:spcAft>
                <a:spcPts val="0"/>
              </a:spcAft>
            </a:pPr>
            <a:r>
              <a:rPr lang="en-US" sz="4800" dirty="0">
                <a:solidFill>
                  <a:srgbClr val="FFFFFF"/>
                </a:solidFill>
                <a:latin typeface="Johnson Text"/>
                <a:ea typeface="+mn-ea"/>
                <a:cs typeface="+mn-cs"/>
              </a:rPr>
              <a:t>Proposed Future State</a:t>
            </a:r>
          </a:p>
        </p:txBody>
      </p:sp>
      <p:sp>
        <p:nvSpPr>
          <p:cNvPr id="3" name="Text Placeholder 2">
            <a:extLst>
              <a:ext uri="{FF2B5EF4-FFF2-40B4-BE49-F238E27FC236}">
                <a16:creationId xmlns:a16="http://schemas.microsoft.com/office/drawing/2014/main" id="{601A08DE-14ED-5B0B-8370-8BB3CF89A676}"/>
              </a:ext>
            </a:extLst>
          </p:cNvPr>
          <p:cNvSpPr txBox="1">
            <a:spLocks/>
          </p:cNvSpPr>
          <p:nvPr/>
        </p:nvSpPr>
        <p:spPr>
          <a:xfrm>
            <a:off x="628895" y="938344"/>
            <a:ext cx="13177520" cy="321627"/>
          </a:xfrm>
          <a:prstGeom prst="rect">
            <a:avLst/>
          </a:prstGeom>
          <a:noFill/>
          <a:ln w="12700">
            <a:noFill/>
            <a:miter lim="800000"/>
            <a:headEnd/>
            <a:tailEnd/>
          </a:ln>
        </p:spPr>
        <p:txBody>
          <a:bodyPr vert="horz" wrap="square" lIns="0" tIns="0" rIns="0" bIns="0" numCol="1" rtlCol="0" anchor="t" anchorCtr="0" compatLnSpc="1">
            <a:prstTxWarp prst="textNoShape">
              <a:avLst/>
            </a:prstTxWarp>
            <a:spAutoFit/>
          </a:bodyPr>
          <a:lstStyle>
            <a:lvl1pPr marL="0" indent="0" algn="l" defTabSz="1097236" rtl="0" eaLnBrk="1" latinLnBrk="0" hangingPunct="1">
              <a:lnSpc>
                <a:spcPct val="110000"/>
              </a:lnSpc>
              <a:spcBef>
                <a:spcPts val="720"/>
              </a:spcBef>
              <a:spcAft>
                <a:spcPts val="720"/>
              </a:spcAft>
              <a:buFont typeface="Arial" panose="020B0604020202020204" pitchFamily="34" charset="0"/>
              <a:buNone/>
              <a:tabLst/>
              <a:defRPr lang="en-US" sz="3000" b="0" i="0" kern="1200" dirty="0">
                <a:solidFill>
                  <a:schemeClr val="tx2"/>
                </a:solidFill>
                <a:latin typeface="+mn-lt"/>
                <a:ea typeface="Arial Unicode MS" pitchFamily="-65" charset="0"/>
                <a:cs typeface="Arial Unicode MS" pitchFamily="-65" charset="0"/>
                <a:sym typeface="Arial" pitchFamily="-65" charset="0"/>
              </a:defRPr>
            </a:lvl1pPr>
            <a:lvl2pPr marL="342887"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2pPr>
            <a:lvl3pPr marL="685772" indent="-342887" algn="l" defTabSz="1097236" rtl="0" eaLnBrk="1" latinLnBrk="0" hangingPunct="1">
              <a:lnSpc>
                <a:spcPct val="110000"/>
              </a:lnSpc>
              <a:spcBef>
                <a:spcPts val="0"/>
              </a:spcBef>
              <a:spcAft>
                <a:spcPts val="720"/>
              </a:spcAft>
              <a:buFont typeface="Arial" panose="020B0604020202020204" pitchFamily="34" charset="0"/>
              <a:buChar char="•"/>
              <a:tabLst/>
              <a:defRPr sz="2520" b="0" i="0" kern="1200">
                <a:solidFill>
                  <a:schemeClr val="tx1"/>
                </a:solidFill>
                <a:latin typeface="+mn-lt"/>
                <a:ea typeface="+mn-ea"/>
                <a:cs typeface="+mn-cs"/>
              </a:defRPr>
            </a:lvl3pPr>
            <a:lvl4pPr marL="0" indent="0" algn="l" defTabSz="1097236" rtl="0" eaLnBrk="1" latinLnBrk="0" hangingPunct="1">
              <a:lnSpc>
                <a:spcPct val="80000"/>
              </a:lnSpc>
              <a:spcBef>
                <a:spcPts val="720"/>
              </a:spcBef>
              <a:spcAft>
                <a:spcPts val="0"/>
              </a:spcAft>
              <a:buFont typeface="Arial" panose="020B0604020202020204" pitchFamily="34" charset="0"/>
              <a:buNone/>
              <a:tabLst/>
              <a:defRPr sz="2520" b="0" i="0" kern="1200">
                <a:solidFill>
                  <a:schemeClr val="tx2"/>
                </a:solidFill>
                <a:latin typeface="+mj-lt"/>
                <a:ea typeface="+mn-ea"/>
                <a:cs typeface="+mn-cs"/>
              </a:defRPr>
            </a:lvl4pPr>
            <a:lvl5pPr marL="0" indent="0" algn="l" defTabSz="1097236" rtl="0" eaLnBrk="1" latinLnBrk="0" hangingPunct="1">
              <a:lnSpc>
                <a:spcPct val="110000"/>
              </a:lnSpc>
              <a:spcBef>
                <a:spcPts val="720"/>
              </a:spcBef>
              <a:spcAft>
                <a:spcPts val="720"/>
              </a:spcAft>
              <a:buFont typeface="Arial" panose="020B0604020202020204" pitchFamily="34" charset="0"/>
              <a:buNone/>
              <a:tabLst/>
              <a:defRPr sz="2520" b="0" i="0" kern="1200">
                <a:solidFill>
                  <a:schemeClr val="tx1"/>
                </a:solidFill>
                <a:latin typeface="+mn-lt"/>
                <a:ea typeface="+mn-ea"/>
                <a:cs typeface="+mn-cs"/>
              </a:defRPr>
            </a:lvl5pPr>
            <a:lvl6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6pPr>
            <a:lvl7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smtClean="0">
                <a:solidFill>
                  <a:schemeClr val="tx1"/>
                </a:solidFill>
                <a:latin typeface="+mn-lt"/>
                <a:ea typeface="+mn-ea"/>
                <a:cs typeface="+mn-cs"/>
              </a:defRPr>
            </a:lvl7pPr>
            <a:lvl8pPr marL="0" indent="0" algn="l" defTabSz="1097236" rtl="0" eaLnBrk="1" latinLnBrk="0" hangingPunct="1">
              <a:lnSpc>
                <a:spcPct val="90000"/>
              </a:lnSpc>
              <a:spcBef>
                <a:spcPts val="720"/>
              </a:spcBef>
              <a:spcAft>
                <a:spcPts val="720"/>
              </a:spcAft>
              <a:buFont typeface="Arial" panose="020B0604020202020204" pitchFamily="34" charset="0"/>
              <a:buNone/>
              <a:defRPr lang="en-GB" sz="2160" b="0" i="0" kern="1200" dirty="0">
                <a:solidFill>
                  <a:schemeClr val="tx1"/>
                </a:solidFill>
                <a:latin typeface="+mn-lt"/>
                <a:ea typeface="+mn-ea"/>
                <a:cs typeface="+mn-cs"/>
              </a:defRPr>
            </a:lvl8pPr>
            <a:lvl9pPr marL="0" indent="0" algn="l" defTabSz="1097236" rtl="0" eaLnBrk="1" latinLnBrk="0" hangingPunct="1">
              <a:lnSpc>
                <a:spcPct val="90000"/>
              </a:lnSpc>
              <a:spcBef>
                <a:spcPts val="720"/>
              </a:spcBef>
              <a:spcAft>
                <a:spcPts val="720"/>
              </a:spcAft>
              <a:buFont typeface="Arial" panose="020B0604020202020204" pitchFamily="34" charset="0"/>
              <a:buNone/>
              <a:defRPr sz="2160" b="0" i="0" kern="1200">
                <a:solidFill>
                  <a:schemeClr val="tx1"/>
                </a:solidFill>
                <a:latin typeface="+mn-lt"/>
                <a:ea typeface="+mn-ea"/>
                <a:cs typeface="+mn-cs"/>
              </a:defRPr>
            </a:lvl9pPr>
          </a:lstStyle>
          <a:p>
            <a:pPr fontAlgn="auto"/>
            <a:r>
              <a:rPr lang="en-US" sz="2000" dirty="0"/>
              <a:t>                   X = Not on the MedTech CSS roadmap</a:t>
            </a:r>
          </a:p>
        </p:txBody>
      </p:sp>
      <p:sp>
        <p:nvSpPr>
          <p:cNvPr id="8" name="TextBox 7">
            <a:extLst>
              <a:ext uri="{FF2B5EF4-FFF2-40B4-BE49-F238E27FC236}">
                <a16:creationId xmlns:a16="http://schemas.microsoft.com/office/drawing/2014/main" id="{76BABCB9-492E-EB50-5FDA-0F607010C332}"/>
              </a:ext>
            </a:extLst>
          </p:cNvPr>
          <p:cNvSpPr txBox="1"/>
          <p:nvPr/>
        </p:nvSpPr>
        <p:spPr>
          <a:xfrm>
            <a:off x="1797979" y="5498707"/>
            <a:ext cx="503434" cy="707886"/>
          </a:xfrm>
          <a:prstGeom prst="rect">
            <a:avLst/>
          </a:prstGeom>
          <a:noFill/>
        </p:spPr>
        <p:txBody>
          <a:bodyPr wrap="square">
            <a:spAutoFit/>
          </a:bodyPr>
          <a:lstStyle/>
          <a:p>
            <a:r>
              <a:rPr lang="en-US" sz="4000" dirty="0">
                <a:solidFill>
                  <a:srgbClr val="FF0000"/>
                </a:solidFill>
              </a:rPr>
              <a:t>X</a:t>
            </a:r>
            <a:endParaRPr lang="en-US" sz="3600" dirty="0">
              <a:solidFill>
                <a:srgbClr val="FF0000"/>
              </a:solidFill>
            </a:endParaRPr>
          </a:p>
        </p:txBody>
      </p:sp>
      <p:sp>
        <p:nvSpPr>
          <p:cNvPr id="13" name="TextBox 12">
            <a:extLst>
              <a:ext uri="{FF2B5EF4-FFF2-40B4-BE49-F238E27FC236}">
                <a16:creationId xmlns:a16="http://schemas.microsoft.com/office/drawing/2014/main" id="{E248D80E-76F7-585D-BC7B-880924C6AC0C}"/>
              </a:ext>
            </a:extLst>
          </p:cNvPr>
          <p:cNvSpPr txBox="1"/>
          <p:nvPr/>
        </p:nvSpPr>
        <p:spPr>
          <a:xfrm>
            <a:off x="3768145" y="3829004"/>
            <a:ext cx="503434" cy="707886"/>
          </a:xfrm>
          <a:prstGeom prst="rect">
            <a:avLst/>
          </a:prstGeom>
          <a:noFill/>
        </p:spPr>
        <p:txBody>
          <a:bodyPr wrap="square">
            <a:spAutoFit/>
          </a:bodyPr>
          <a:lstStyle/>
          <a:p>
            <a:r>
              <a:rPr lang="en-US" sz="4000" dirty="0">
                <a:solidFill>
                  <a:srgbClr val="FF0000"/>
                </a:solidFill>
              </a:rPr>
              <a:t>X</a:t>
            </a:r>
            <a:endParaRPr lang="en-US" sz="3600" dirty="0">
              <a:solidFill>
                <a:srgbClr val="FF0000"/>
              </a:solidFill>
            </a:endParaRPr>
          </a:p>
        </p:txBody>
      </p:sp>
      <p:sp>
        <p:nvSpPr>
          <p:cNvPr id="14" name="TextBox 13">
            <a:extLst>
              <a:ext uri="{FF2B5EF4-FFF2-40B4-BE49-F238E27FC236}">
                <a16:creationId xmlns:a16="http://schemas.microsoft.com/office/drawing/2014/main" id="{F5A24744-A13E-0876-FF65-1093C1821386}"/>
              </a:ext>
            </a:extLst>
          </p:cNvPr>
          <p:cNvSpPr txBox="1"/>
          <p:nvPr/>
        </p:nvSpPr>
        <p:spPr>
          <a:xfrm>
            <a:off x="5012077" y="4702474"/>
            <a:ext cx="503434" cy="707886"/>
          </a:xfrm>
          <a:prstGeom prst="rect">
            <a:avLst/>
          </a:prstGeom>
          <a:noFill/>
        </p:spPr>
        <p:txBody>
          <a:bodyPr wrap="square">
            <a:spAutoFit/>
          </a:bodyPr>
          <a:lstStyle/>
          <a:p>
            <a:r>
              <a:rPr lang="en-US" sz="4000" dirty="0">
                <a:solidFill>
                  <a:srgbClr val="FF0000"/>
                </a:solidFill>
              </a:rPr>
              <a:t>X</a:t>
            </a:r>
            <a:endParaRPr lang="en-US" sz="3600" dirty="0">
              <a:solidFill>
                <a:srgbClr val="FF0000"/>
              </a:solidFill>
            </a:endParaRPr>
          </a:p>
        </p:txBody>
      </p:sp>
      <p:sp>
        <p:nvSpPr>
          <p:cNvPr id="15" name="TextBox 14">
            <a:extLst>
              <a:ext uri="{FF2B5EF4-FFF2-40B4-BE49-F238E27FC236}">
                <a16:creationId xmlns:a16="http://schemas.microsoft.com/office/drawing/2014/main" id="{BED6D300-1653-E5FF-24C6-B4B7852196D1}"/>
              </a:ext>
            </a:extLst>
          </p:cNvPr>
          <p:cNvSpPr txBox="1"/>
          <p:nvPr/>
        </p:nvSpPr>
        <p:spPr>
          <a:xfrm>
            <a:off x="3252705" y="4596657"/>
            <a:ext cx="503434" cy="707886"/>
          </a:xfrm>
          <a:prstGeom prst="rect">
            <a:avLst/>
          </a:prstGeom>
          <a:noFill/>
        </p:spPr>
        <p:txBody>
          <a:bodyPr wrap="square">
            <a:spAutoFit/>
          </a:bodyPr>
          <a:lstStyle/>
          <a:p>
            <a:r>
              <a:rPr lang="en-US" sz="4000" dirty="0">
                <a:solidFill>
                  <a:srgbClr val="FF0000"/>
                </a:solidFill>
              </a:rPr>
              <a:t>X</a:t>
            </a:r>
            <a:endParaRPr lang="en-US" sz="3600" dirty="0">
              <a:solidFill>
                <a:srgbClr val="FF0000"/>
              </a:solidFill>
            </a:endParaRPr>
          </a:p>
        </p:txBody>
      </p:sp>
      <p:sp>
        <p:nvSpPr>
          <p:cNvPr id="16" name="TextBox 15">
            <a:extLst>
              <a:ext uri="{FF2B5EF4-FFF2-40B4-BE49-F238E27FC236}">
                <a16:creationId xmlns:a16="http://schemas.microsoft.com/office/drawing/2014/main" id="{6476EFEC-8751-E565-1E49-4BB45606BC6B}"/>
              </a:ext>
            </a:extLst>
          </p:cNvPr>
          <p:cNvSpPr txBox="1"/>
          <p:nvPr/>
        </p:nvSpPr>
        <p:spPr>
          <a:xfrm>
            <a:off x="2896457" y="5423712"/>
            <a:ext cx="503434" cy="707886"/>
          </a:xfrm>
          <a:prstGeom prst="rect">
            <a:avLst/>
          </a:prstGeom>
          <a:noFill/>
        </p:spPr>
        <p:txBody>
          <a:bodyPr wrap="square">
            <a:spAutoFit/>
          </a:bodyPr>
          <a:lstStyle/>
          <a:p>
            <a:r>
              <a:rPr lang="en-US" sz="4000" dirty="0">
                <a:solidFill>
                  <a:srgbClr val="FF0000"/>
                </a:solidFill>
              </a:rPr>
              <a:t>X</a:t>
            </a:r>
            <a:endParaRPr lang="en-US" sz="3600" dirty="0">
              <a:solidFill>
                <a:srgbClr val="FF0000"/>
              </a:solidFill>
            </a:endParaRPr>
          </a:p>
        </p:txBody>
      </p:sp>
    </p:spTree>
    <p:extLst>
      <p:ext uri="{BB962C8B-B14F-4D97-AF65-F5344CB8AC3E}">
        <p14:creationId xmlns:p14="http://schemas.microsoft.com/office/powerpoint/2010/main" val="2693165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1CB56-AEC0-30A1-445B-B7BE21397FC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4A0C8C6-A34B-6335-5142-C798084D5127}"/>
              </a:ext>
            </a:extLst>
          </p:cNvPr>
          <p:cNvSpPr/>
          <p:nvPr/>
        </p:nvSpPr>
        <p:spPr bwMode="auto">
          <a:xfrm>
            <a:off x="0" y="2"/>
            <a:ext cx="14630400" cy="878262"/>
          </a:xfrm>
          <a:prstGeom prst="rect">
            <a:avLst/>
          </a:prstGeom>
          <a:solidFill>
            <a:srgbClr val="FF0000"/>
          </a:solidFill>
          <a:ln w="12700" cap="flat" cmpd="sng" algn="ctr">
            <a:no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algn="ctr" defTabSz="1097280">
              <a:spcBef>
                <a:spcPct val="0"/>
              </a:spcBef>
            </a:pPr>
            <a:r>
              <a:rPr lang="en-US" sz="5280" dirty="0">
                <a:solidFill>
                  <a:srgbClr val="FFFFFF"/>
                </a:solidFill>
                <a:latin typeface="Johnson Text"/>
                <a:ea typeface="+mn-ea"/>
                <a:cs typeface="+mn-cs"/>
              </a:rPr>
              <a:t>Project Plan</a:t>
            </a:r>
            <a:endParaRPr lang="en-US" sz="2400" dirty="0">
              <a:solidFill>
                <a:srgbClr val="564C47"/>
              </a:solidFill>
              <a:latin typeface="Johnson Text"/>
              <a:ea typeface="+mn-ea"/>
              <a:cs typeface="+mn-cs"/>
            </a:endParaRPr>
          </a:p>
          <a:p>
            <a:pPr algn="ctr" defTabSz="1097280">
              <a:spcBef>
                <a:spcPct val="0"/>
              </a:spcBef>
              <a:defRPr/>
            </a:pPr>
            <a:endParaRPr lang="en-US" sz="384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pic>
        <p:nvPicPr>
          <p:cNvPr id="3" name="Picture 2">
            <a:extLst>
              <a:ext uri="{FF2B5EF4-FFF2-40B4-BE49-F238E27FC236}">
                <a16:creationId xmlns:a16="http://schemas.microsoft.com/office/drawing/2014/main" id="{96677FCE-2CA9-9934-82C4-608000FC98F9}"/>
              </a:ext>
            </a:extLst>
          </p:cNvPr>
          <p:cNvPicPr>
            <a:picLocks noChangeAspect="1"/>
          </p:cNvPicPr>
          <p:nvPr/>
        </p:nvPicPr>
        <p:blipFill>
          <a:blip r:embed="rId2"/>
          <a:stretch>
            <a:fillRect/>
          </a:stretch>
        </p:blipFill>
        <p:spPr>
          <a:xfrm>
            <a:off x="4275423" y="1058238"/>
            <a:ext cx="6654906" cy="6667928"/>
          </a:xfrm>
          <a:prstGeom prst="rect">
            <a:avLst/>
          </a:prstGeom>
        </p:spPr>
      </p:pic>
    </p:spTree>
    <p:extLst>
      <p:ext uri="{BB962C8B-B14F-4D97-AF65-F5344CB8AC3E}">
        <p14:creationId xmlns:p14="http://schemas.microsoft.com/office/powerpoint/2010/main" val="27916809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10.xml><?xml version="1.0" encoding="utf-8"?>
<a:theme xmlns:a="http://schemas.openxmlformats.org/drawingml/2006/main" name="1_Johnson and Johnson">
  <a:themeElements>
    <a:clrScheme name="JNJ">
      <a:dk1>
        <a:srgbClr val="000000"/>
      </a:dk1>
      <a:lt1>
        <a:srgbClr val="FFFFFF"/>
      </a:lt1>
      <a:dk2>
        <a:srgbClr val="EB1700"/>
      </a:dk2>
      <a:lt2>
        <a:srgbClr val="564C47"/>
      </a:lt2>
      <a:accent1>
        <a:srgbClr val="EB1700"/>
      </a:accent1>
      <a:accent2>
        <a:srgbClr val="000000"/>
      </a:accent2>
      <a:accent3>
        <a:srgbClr val="C4BDB6"/>
      </a:accent3>
      <a:accent4>
        <a:srgbClr val="004686"/>
      </a:accent4>
      <a:accent5>
        <a:srgbClr val="68D2FF"/>
      </a:accent5>
      <a:accent6>
        <a:srgbClr val="541981"/>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UNTITLED.pptx" id="{A1E297B8-D733-468D-A7A0-F419AD46929F}" vid="{07CD58AA-51C1-4DD9-BB4C-63E58E02131A}"/>
    </a:ext>
  </a:extLst>
</a:theme>
</file>

<file path=ppt/theme/theme11.xml><?xml version="1.0" encoding="utf-8"?>
<a:theme xmlns:a="http://schemas.openxmlformats.org/drawingml/2006/main" name="4_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3.xml><?xml version="1.0" encoding="utf-8"?>
<a:theme xmlns:a="http://schemas.openxmlformats.org/drawingml/2006/main" name="2_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4.xml><?xml version="1.0" encoding="utf-8"?>
<a:theme xmlns:a="http://schemas.openxmlformats.org/drawingml/2006/main" name="14_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5.xml><?xml version="1.0" encoding="utf-8"?>
<a:theme xmlns:a="http://schemas.openxmlformats.org/drawingml/2006/main" name="1_Title &amp; Bullets">
  <a:themeElements>
    <a:clrScheme name="JnJ_1Vision_1Voice_010815a">
      <a:dk1>
        <a:sysClr val="windowText" lastClr="000000"/>
      </a:dk1>
      <a:lt1>
        <a:sysClr val="window" lastClr="FFFFFF"/>
      </a:lt1>
      <a:dk2>
        <a:srgbClr val="1D8BAB"/>
      </a:dk2>
      <a:lt2>
        <a:srgbClr val="EEECE1"/>
      </a:lt2>
      <a:accent1>
        <a:srgbClr val="F10915"/>
      </a:accent1>
      <a:accent2>
        <a:srgbClr val="A7020D"/>
      </a:accent2>
      <a:accent3>
        <a:srgbClr val="27C0EA"/>
      </a:accent3>
      <a:accent4>
        <a:srgbClr val="777877"/>
      </a:accent4>
      <a:accent5>
        <a:srgbClr val="CECFCD"/>
      </a:accent5>
      <a:accent6>
        <a:srgbClr val="BCB16C"/>
      </a:accent6>
      <a:hlink>
        <a:srgbClr val="F10915"/>
      </a:hlink>
      <a:folHlink>
        <a:srgbClr val="F10915"/>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Title &amp; Bullets">
  <a:themeElements>
    <a:clrScheme name="">
      <a:dk1>
        <a:srgbClr val="777777"/>
      </a:dk1>
      <a:lt1>
        <a:srgbClr val="FFFFFF"/>
      </a:lt1>
      <a:dk2>
        <a:srgbClr val="000000"/>
      </a:dk2>
      <a:lt2>
        <a:srgbClr val="808080"/>
      </a:lt2>
      <a:accent1>
        <a:srgbClr val="C0C0C0"/>
      </a:accent1>
      <a:accent2>
        <a:srgbClr val="333399"/>
      </a:accent2>
      <a:accent3>
        <a:srgbClr val="FFFFFF"/>
      </a:accent3>
      <a:accent4>
        <a:srgbClr val="656565"/>
      </a:accent4>
      <a:accent5>
        <a:srgbClr val="DCDCDC"/>
      </a:accent5>
      <a:accent6>
        <a:srgbClr val="2D2D8A"/>
      </a:accent6>
      <a:hlink>
        <a:srgbClr val="009999"/>
      </a:hlink>
      <a:folHlink>
        <a:srgbClr val="99CC00"/>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Title &amp; Bullets">
  <a:themeElements>
    <a:clrScheme name="">
      <a:dk1>
        <a:srgbClr val="777777"/>
      </a:dk1>
      <a:lt1>
        <a:srgbClr val="FFFFFF"/>
      </a:lt1>
      <a:dk2>
        <a:srgbClr val="000000"/>
      </a:dk2>
      <a:lt2>
        <a:srgbClr val="808080"/>
      </a:lt2>
      <a:accent1>
        <a:srgbClr val="C0C0C0"/>
      </a:accent1>
      <a:accent2>
        <a:srgbClr val="333399"/>
      </a:accent2>
      <a:accent3>
        <a:srgbClr val="FFFFFF"/>
      </a:accent3>
      <a:accent4>
        <a:srgbClr val="656565"/>
      </a:accent4>
      <a:accent5>
        <a:srgbClr val="DCDCDC"/>
      </a:accent5>
      <a:accent6>
        <a:srgbClr val="2D2D8A"/>
      </a:accent6>
      <a:hlink>
        <a:srgbClr val="009999"/>
      </a:hlink>
      <a:folHlink>
        <a:srgbClr val="99CC00"/>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J&amp;J Corporate Fullscreen">
  <a:themeElements>
    <a:clrScheme name="Custom 4">
      <a:dk1>
        <a:srgbClr val="212121"/>
      </a:dk1>
      <a:lt1>
        <a:srgbClr val="FFFFFF"/>
      </a:lt1>
      <a:dk2>
        <a:srgbClr val="63666A"/>
      </a:dk2>
      <a:lt2>
        <a:srgbClr val="F4F4F4"/>
      </a:lt2>
      <a:accent1>
        <a:srgbClr val="CA001B"/>
      </a:accent1>
      <a:accent2>
        <a:srgbClr val="000099"/>
      </a:accent2>
      <a:accent3>
        <a:srgbClr val="CC0099"/>
      </a:accent3>
      <a:accent4>
        <a:srgbClr val="009999"/>
      </a:accent4>
      <a:accent5>
        <a:srgbClr val="FF6600"/>
      </a:accent5>
      <a:accent6>
        <a:srgbClr val="6633CC"/>
      </a:accent6>
      <a:hlink>
        <a:srgbClr val="9DA1AC"/>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9.xml><?xml version="1.0" encoding="utf-8"?>
<a:theme xmlns:a="http://schemas.openxmlformats.org/drawingml/2006/main" name="Johnson and Johnson">
  <a:themeElements>
    <a:clrScheme name="JNJ">
      <a:dk1>
        <a:srgbClr val="000000"/>
      </a:dk1>
      <a:lt1>
        <a:srgbClr val="FFFFFF"/>
      </a:lt1>
      <a:dk2>
        <a:srgbClr val="EB1700"/>
      </a:dk2>
      <a:lt2>
        <a:srgbClr val="564C47"/>
      </a:lt2>
      <a:accent1>
        <a:srgbClr val="EB1700"/>
      </a:accent1>
      <a:accent2>
        <a:srgbClr val="000000"/>
      </a:accent2>
      <a:accent3>
        <a:srgbClr val="C4BDB6"/>
      </a:accent3>
      <a:accent4>
        <a:srgbClr val="004686"/>
      </a:accent4>
      <a:accent5>
        <a:srgbClr val="68D2FF"/>
      </a:accent5>
      <a:accent6>
        <a:srgbClr val="541981"/>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UNTITLED.pptx" id="{A1E297B8-D733-468D-A7A0-F419AD46929F}" vid="{07CD58AA-51C1-4DD9-BB4C-63E58E02131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11754D823931A448EB8E277DBEE71D9" ma:contentTypeVersion="23" ma:contentTypeDescription="Create a new document." ma:contentTypeScope="" ma:versionID="5c9dc459651c554b629b8585fd4d6a72">
  <xsd:schema xmlns:xsd="http://www.w3.org/2001/XMLSchema" xmlns:xs="http://www.w3.org/2001/XMLSchema" xmlns:p="http://schemas.microsoft.com/office/2006/metadata/properties" xmlns:ns1="http://schemas.microsoft.com/sharepoint/v3" xmlns:ns2="2741efd5-241a-4470-b225-a786206d9aef" xmlns:ns3="10832fc5-9e66-4ead-a8c8-2ffb9154dd4c" targetNamespace="http://schemas.microsoft.com/office/2006/metadata/properties" ma:root="true" ma:fieldsID="1e9ace4e1aed42dfc1b3b6306e758426" ns1:_="" ns2:_="" ns3:_="">
    <xsd:import namespace="http://schemas.microsoft.com/sharepoint/v3"/>
    <xsd:import namespace="2741efd5-241a-4470-b225-a786206d9aef"/>
    <xsd:import namespace="10832fc5-9e66-4ead-a8c8-2ffb9154dd4c"/>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1:_ip_UnifiedCompliancePolicyProperties" minOccurs="0"/>
                <xsd:element ref="ns1:_ip_UnifiedCompliancePolicyUIAction" minOccurs="0"/>
                <xsd:element ref="ns3:MediaServiceObjectDetectorVersions" minOccurs="0"/>
                <xsd:element ref="ns3:lcf76f155ced4ddcb4097134ff3c332f" minOccurs="0"/>
                <xsd:element ref="ns2: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41efd5-241a-4470-b225-a786206d9ae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element name="TaxCatchAll" ma:index="28" nillable="true" ma:displayName="Taxonomy Catch All Column" ma:hidden="true" ma:list="{01b54f4a-7768-4990-90aa-14f1cc962b0c}" ma:internalName="TaxCatchAll" ma:showField="CatchAllData" ma:web="2741efd5-241a-4470-b225-a786206d9ae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0832fc5-9e66-4ead-a8c8-2ffb9154dd4c"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fe82b97c-6a8a-4995-9eb5-298aced380b7" ma:termSetId="09814cd3-568e-fe90-9814-8d621ff8fb84" ma:anchorId="fba54fb3-c3e1-fe81-a776-ca4b69148c4d" ma:open="true" ma:isKeyword="false">
      <xsd:complexType>
        <xsd:sequence>
          <xsd:element ref="pc:Terms" minOccurs="0" maxOccurs="1"/>
        </xsd:sequence>
      </xsd:complex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741efd5-241a-4470-b225-a786206d9aef">
      <UserInfo>
        <DisplayName>Meyer, Grant [JJCUS NON-J&amp;J]</DisplayName>
        <AccountId>1164</AccountId>
        <AccountType/>
      </UserInfo>
      <UserInfo>
        <DisplayName>Khachane, Sohan [GTSUS]</DisplayName>
        <AccountId>1397</AccountId>
        <AccountType/>
      </UserInfo>
      <UserInfo>
        <DisplayName>Borodach, Nicholas [JJCUS NON-J&amp;J]</DisplayName>
        <AccountId>1663</AccountId>
        <AccountType/>
      </UserInfo>
      <UserInfo>
        <DisplayName>Wile, David [JJCUS]</DisplayName>
        <AccountId>1000</AccountId>
        <AccountType/>
      </UserInfo>
      <UserInfo>
        <DisplayName>Authier, Sean [ITSUS]</DisplayName>
        <AccountId>40</AccountId>
        <AccountType/>
      </UserInfo>
      <UserInfo>
        <DisplayName>Kopinski, Mary Ann [ITSUS]</DisplayName>
        <AccountId>85</AccountId>
        <AccountType/>
      </UserInfo>
      <UserInfo>
        <DisplayName>Verbeck, Tony [JJCUS]</DisplayName>
        <AccountId>2035</AccountId>
        <AccountType/>
      </UserInfo>
    </SharedWithUsers>
    <_ip_UnifiedCompliancePolicyUIAction xmlns="http://schemas.microsoft.com/sharepoint/v3" xsi:nil="true"/>
    <lcf76f155ced4ddcb4097134ff3c332f xmlns="10832fc5-9e66-4ead-a8c8-2ffb9154dd4c">
      <Terms xmlns="http://schemas.microsoft.com/office/infopath/2007/PartnerControls"/>
    </lcf76f155ced4ddcb4097134ff3c332f>
    <_ip_UnifiedCompliancePolicyProperties xmlns="http://schemas.microsoft.com/sharepoint/v3" xsi:nil="true"/>
    <TaxCatchAll xmlns="2741efd5-241a-4470-b225-a786206d9aef" xsi:nil="true"/>
  </documentManagement>
</p:properties>
</file>

<file path=customXml/itemProps1.xml><?xml version="1.0" encoding="utf-8"?>
<ds:datastoreItem xmlns:ds="http://schemas.openxmlformats.org/officeDocument/2006/customXml" ds:itemID="{BABFF56A-2ACF-4491-996C-A607F96E2F4D}">
  <ds:schemaRefs>
    <ds:schemaRef ds:uri="http://schemas.microsoft.com/sharepoint/v3/contenttype/forms"/>
  </ds:schemaRefs>
</ds:datastoreItem>
</file>

<file path=customXml/itemProps2.xml><?xml version="1.0" encoding="utf-8"?>
<ds:datastoreItem xmlns:ds="http://schemas.openxmlformats.org/officeDocument/2006/customXml" ds:itemID="{1D577590-4ADA-4E07-82DC-9C68AD8BC34A}">
  <ds:schemaRefs>
    <ds:schemaRef ds:uri="10832fc5-9e66-4ead-a8c8-2ffb9154dd4c"/>
    <ds:schemaRef ds:uri="2741efd5-241a-4470-b225-a786206d9ae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8AE86C4-F854-4FDD-B4CF-7DACAC416CC2}">
  <ds:schemaRefs>
    <ds:schemaRef ds:uri="2741efd5-241a-4470-b225-a786206d9aef"/>
    <ds:schemaRef ds:uri="http://schemas.microsoft.com/office/2006/documentManagement/types"/>
    <ds:schemaRef ds:uri="http://purl.org/dc/terms/"/>
    <ds:schemaRef ds:uri="10832fc5-9e66-4ead-a8c8-2ffb9154dd4c"/>
    <ds:schemaRef ds:uri="http://purl.org/dc/elements/1.1/"/>
    <ds:schemaRef ds:uri="http://purl.org/dc/dcmitype/"/>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J&amp;J Corporate Fullscreen</Template>
  <TotalTime>661</TotalTime>
  <Words>5505</Words>
  <Application>Microsoft Office PowerPoint</Application>
  <PresentationFormat>Custom</PresentationFormat>
  <Paragraphs>812</Paragraphs>
  <Slides>35</Slides>
  <Notes>16</Notes>
  <HiddenSlides>0</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58" baseType="lpstr">
      <vt:lpstr>Arial</vt:lpstr>
      <vt:lpstr>Calibri</vt:lpstr>
      <vt:lpstr>Century Gothic</vt:lpstr>
      <vt:lpstr>Courier New</vt:lpstr>
      <vt:lpstr>Georgia</vt:lpstr>
      <vt:lpstr>Johnson Display</vt:lpstr>
      <vt:lpstr>Johnson Text</vt:lpstr>
      <vt:lpstr>Mission Gothic Regular</vt:lpstr>
      <vt:lpstr>Open Sans Light</vt:lpstr>
      <vt:lpstr>Symbol</vt:lpstr>
      <vt:lpstr>Wingdings</vt:lpstr>
      <vt:lpstr>J&amp;J Corporate Fullscreen</vt:lpstr>
      <vt:lpstr>1_J&amp;J Corporate Fullscreen</vt:lpstr>
      <vt:lpstr>2_J&amp;J Corporate Fullscreen</vt:lpstr>
      <vt:lpstr>14_J&amp;J Corporate Fullscreen</vt:lpstr>
      <vt:lpstr>1_Title &amp; Bullets</vt:lpstr>
      <vt:lpstr>2_Title &amp; Bullets</vt:lpstr>
      <vt:lpstr>3_Title &amp; Bullets</vt:lpstr>
      <vt:lpstr>3_J&amp;J Corporate Fullscreen</vt:lpstr>
      <vt:lpstr>Johnson and Johnson</vt:lpstr>
      <vt:lpstr>1_Johnson and Johnson</vt:lpstr>
      <vt:lpstr>4_J&amp;J Corporate Fullscreen</vt:lpstr>
      <vt:lpstr>iGrafx</vt:lpstr>
      <vt:lpstr>CPI-DTB-MedTech-NA-Sterilmed ERP Migration Phase 0 - Report Out Deck</vt:lpstr>
      <vt:lpstr>Executive Summary</vt:lpstr>
      <vt:lpstr>Define</vt:lpstr>
      <vt:lpstr>CPI Scope of Work</vt:lpstr>
      <vt:lpstr>PowerPoint Presentation</vt:lpstr>
      <vt:lpstr>PowerPoint Presentation</vt:lpstr>
      <vt:lpstr>PowerPoint Presentation</vt:lpstr>
      <vt:lpstr>PowerPoint Presentation</vt:lpstr>
      <vt:lpstr>PowerPoint Presentation</vt:lpstr>
      <vt:lpstr>Measure</vt:lpstr>
      <vt:lpstr>PowerPoint Presentation</vt:lpstr>
      <vt:lpstr>PowerPoint Presentation</vt:lpstr>
      <vt:lpstr>PowerPoint Presentation</vt:lpstr>
      <vt:lpstr>PowerPoint Presentation</vt:lpstr>
      <vt:lpstr>PowerPoint Presentation</vt:lpstr>
      <vt:lpstr>Analyz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Preliminary Future State Design Concept Maps at Mid to High Level supporting aCAR submission to the Steering Committee – Revisit after design and test phase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ina, David [NCSUS]</dc:creator>
  <cp:lastModifiedBy>Engel, Troy [JJCUS NON-J&amp;J]</cp:lastModifiedBy>
  <cp:revision>2</cp:revision>
  <cp:lastPrinted>2024-02-09T09:48:13Z</cp:lastPrinted>
  <dcterms:created xsi:type="dcterms:W3CDTF">2018-06-06T22:07:21Z</dcterms:created>
  <dcterms:modified xsi:type="dcterms:W3CDTF">2024-03-06T18: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1754D823931A448EB8E277DBEE71D9</vt:lpwstr>
  </property>
  <property fmtid="{D5CDD505-2E9C-101B-9397-08002B2CF9AE}" pid="3" name="MSIP_Label_0a85929b-232e-42d6-98ae-ef1aa01cbfa4_Enabled">
    <vt:lpwstr>true</vt:lpwstr>
  </property>
  <property fmtid="{D5CDD505-2E9C-101B-9397-08002B2CF9AE}" pid="4" name="MSIP_Label_0a85929b-232e-42d6-98ae-ef1aa01cbfa4_SetDate">
    <vt:lpwstr>2022-05-13T09:05:11Z</vt:lpwstr>
  </property>
  <property fmtid="{D5CDD505-2E9C-101B-9397-08002B2CF9AE}" pid="5" name="MSIP_Label_0a85929b-232e-42d6-98ae-ef1aa01cbfa4_Method">
    <vt:lpwstr>Standard</vt:lpwstr>
  </property>
  <property fmtid="{D5CDD505-2E9C-101B-9397-08002B2CF9AE}" pid="6" name="MSIP_Label_0a85929b-232e-42d6-98ae-ef1aa01cbfa4_Name">
    <vt:lpwstr>Not Sensitive</vt:lpwstr>
  </property>
  <property fmtid="{D5CDD505-2E9C-101B-9397-08002B2CF9AE}" pid="7" name="MSIP_Label_0a85929b-232e-42d6-98ae-ef1aa01cbfa4_SiteId">
    <vt:lpwstr>3ac94b33-9135-4821-9502-eafda6592a35</vt:lpwstr>
  </property>
  <property fmtid="{D5CDD505-2E9C-101B-9397-08002B2CF9AE}" pid="8" name="MSIP_Label_0a85929b-232e-42d6-98ae-ef1aa01cbfa4_ActionId">
    <vt:lpwstr>113d9920-ace9-45f1-b615-bb67573b95ed</vt:lpwstr>
  </property>
  <property fmtid="{D5CDD505-2E9C-101B-9397-08002B2CF9AE}" pid="9" name="MSIP_Label_0a85929b-232e-42d6-98ae-ef1aa01cbfa4_ContentBits">
    <vt:lpwstr>0</vt:lpwstr>
  </property>
  <property fmtid="{D5CDD505-2E9C-101B-9397-08002B2CF9AE}" pid="10" name="MediaServiceImageTags">
    <vt:lpwstr/>
  </property>
</Properties>
</file>